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4"/>
  </p:notesMasterIdLst>
  <p:handoutMasterIdLst>
    <p:handoutMasterId r:id="rId15"/>
  </p:handoutMasterIdLst>
  <p:sldIdLst>
    <p:sldId id="1806" r:id="rId5"/>
    <p:sldId id="1719" r:id="rId6"/>
    <p:sldId id="1787" r:id="rId7"/>
    <p:sldId id="1807" r:id="rId8"/>
    <p:sldId id="3153" r:id="rId9"/>
    <p:sldId id="3150" r:id="rId10"/>
    <p:sldId id="3152" r:id="rId11"/>
    <p:sldId id="1828" r:id="rId12"/>
    <p:sldId id="3143" r:id="rId13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tte Nielsen" initials="MN" lastIdx="28" clrIdx="0">
    <p:extLst>
      <p:ext uri="{19B8F6BF-5375-455C-9EA6-DF929625EA0E}">
        <p15:presenceInfo xmlns:p15="http://schemas.microsoft.com/office/powerpoint/2012/main" userId="S::meni@epinionglobal.com::83d51f75-acb3-4a5e-8c85-b0f3a33ade86" providerId="AD"/>
      </p:ext>
    </p:extLst>
  </p:cmAuthor>
  <p:cmAuthor id="2" name="Berit Didriksen" initials="BD" lastIdx="13" clrIdx="1">
    <p:extLst>
      <p:ext uri="{19B8F6BF-5375-455C-9EA6-DF929625EA0E}">
        <p15:presenceInfo xmlns:p15="http://schemas.microsoft.com/office/powerpoint/2012/main" userId="S::bedi@epinionglobal.com::f92beea0-158e-4c57-8619-7c9477b32cc1" providerId="AD"/>
      </p:ext>
    </p:extLst>
  </p:cmAuthor>
  <p:cmAuthor id="3" name="Anders Thomsen" initials="AT" lastIdx="1" clrIdx="2">
    <p:extLst>
      <p:ext uri="{19B8F6BF-5375-455C-9EA6-DF929625EA0E}">
        <p15:presenceInfo xmlns:p15="http://schemas.microsoft.com/office/powerpoint/2012/main" userId="S::anders.thomsen@nomorehours.com::4f1a3f9b-96e0-41a9-92a4-855bdcbae16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3C32"/>
    <a:srgbClr val="E73437"/>
    <a:srgbClr val="A7C7D7"/>
    <a:srgbClr val="BA7384"/>
    <a:srgbClr val="68838B"/>
    <a:srgbClr val="641E3C"/>
    <a:srgbClr val="233CA0"/>
    <a:srgbClr val="E14646"/>
    <a:srgbClr val="B6975A"/>
    <a:srgbClr val="754E1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215" autoAdjust="0"/>
  </p:normalViewPr>
  <p:slideViewPr>
    <p:cSldViewPr snapToGrid="0" showGuides="1">
      <p:cViewPr varScale="1">
        <p:scale>
          <a:sx n="112" d="100"/>
          <a:sy n="112" d="100"/>
        </p:scale>
        <p:origin x="552" y="10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77" d="100"/>
          <a:sy n="77" d="100"/>
        </p:scale>
        <p:origin x="2412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0.99813528229184123"/>
          <c:h val="0.8517149592277646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rigin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E5B-4298-9907-4AB17040EDCF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7-4E5B-4298-9907-4AB17040EDC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4E5B-4298-9907-4AB17040EDCF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E5B-4298-9907-4AB17040EDCF}"/>
              </c:ext>
            </c:extLst>
          </c:dPt>
          <c:dPt>
            <c:idx val="4"/>
            <c:invertIfNegative val="0"/>
            <c:bubble3D val="0"/>
            <c:spPr>
              <a:solidFill>
                <a:srgbClr val="68838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E5B-4298-9907-4AB17040EDCF}"/>
              </c:ext>
            </c:extLst>
          </c:dPt>
          <c:dPt>
            <c:idx val="5"/>
            <c:invertIfNegative val="0"/>
            <c:bubble3D val="0"/>
            <c:spPr>
              <a:solidFill>
                <a:srgbClr val="BA738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4E5B-4298-9907-4AB17040EDCF}"/>
              </c:ext>
            </c:extLst>
          </c:dPt>
          <c:dPt>
            <c:idx val="6"/>
            <c:invertIfNegative val="0"/>
            <c:bubble3D val="0"/>
            <c:spPr>
              <a:solidFill>
                <a:srgbClr val="A7C7D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4E5B-4298-9907-4AB17040EDCF}"/>
              </c:ext>
            </c:extLst>
          </c:dPt>
          <c:dPt>
            <c:idx val="7"/>
            <c:invertIfNegative val="0"/>
            <c:bubble3D val="0"/>
            <c:spPr>
              <a:solidFill>
                <a:srgbClr val="00433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4E5B-4298-9907-4AB17040EDCF}"/>
              </c:ext>
            </c:extLst>
          </c:dPt>
          <c:dPt>
            <c:idx val="8"/>
            <c:invertIfNegative val="0"/>
            <c:bubble3D val="0"/>
            <c:spPr>
              <a:solidFill>
                <a:srgbClr val="73A89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4E5B-4298-9907-4AB17040EDCF}"/>
              </c:ext>
            </c:extLst>
          </c:dPt>
          <c:dPt>
            <c:idx val="9"/>
            <c:invertIfNegative val="0"/>
            <c:bubble3D val="0"/>
            <c:spPr>
              <a:solidFill>
                <a:srgbClr val="C1802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4E5B-4298-9907-4AB17040EDCF}"/>
              </c:ext>
            </c:extLst>
          </c:dPt>
          <c:dPt>
            <c:idx val="10"/>
            <c:invertIfNegative val="0"/>
            <c:bubble3D val="0"/>
            <c:spPr>
              <a:solidFill>
                <a:srgbClr val="EBC88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4E5B-4298-9907-4AB17040EDCF}"/>
              </c:ext>
            </c:extLst>
          </c:dPt>
          <c:dPt>
            <c:idx val="11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4E5B-4298-9907-4AB17040EDC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da-DK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Dark Blue
rgb(15,40,60)
#0f283c</c:v>
                </c:pt>
                <c:pt idx="1">
                  <c:v>Warm Sand
rgb(232,225,213)
#e8e1d5</c:v>
                </c:pt>
                <c:pt idx="2">
                  <c:v>Dark Purple
rgb(100,30,60)
#641e3c</c:v>
                </c:pt>
                <c:pt idx="3">
                  <c:v>Clear Blue
rgb(35,60,160)
#233ca0</c:v>
                </c:pt>
                <c:pt idx="4">
                  <c:v>Light Deep Blue
rgb(104,131,139)
#68838b</c:v>
                </c:pt>
                <c:pt idx="5">
                  <c:v>Light Purple
rgb(186,115,132)
#ba7384</c:v>
                </c:pt>
                <c:pt idx="6">
                  <c:v>Light Blue
rgb(167,199,215)
#a7c7d7</c:v>
                </c:pt>
                <c:pt idx="7">
                  <c:v>Green
rgb(0,67,55)
#004337</c:v>
                </c:pt>
                <c:pt idx="8">
                  <c:v>Light Green
rgb(115,168,154)
#73a89a</c:v>
                </c:pt>
                <c:pt idx="9">
                  <c:v>Gold
rgb(193,128,34)
#c18022</c:v>
                </c:pt>
                <c:pt idx="10">
                  <c:v>Light Gold
rgb(235,200,130)
#ebc882</c:v>
                </c:pt>
                <c:pt idx="11">
                  <c:v>Epinion Red
rgb(225,70,70)
#e14646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3</c:v>
                </c:pt>
                <c:pt idx="1">
                  <c:v>7</c:v>
                </c:pt>
                <c:pt idx="2">
                  <c:v>6</c:v>
                </c:pt>
                <c:pt idx="3">
                  <c:v>4</c:v>
                </c:pt>
                <c:pt idx="4">
                  <c:v>1.5</c:v>
                </c:pt>
                <c:pt idx="5">
                  <c:v>1.3</c:v>
                </c:pt>
                <c:pt idx="6">
                  <c:v>1.100000000000000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4E5B-4298-9907-4AB17040EDC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-20"/>
        <c:axId val="1849853135"/>
        <c:axId val="1858194079"/>
      </c:barChart>
      <c:catAx>
        <c:axId val="184985313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635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da-DK"/>
          </a:p>
        </c:txPr>
        <c:crossAx val="1858194079"/>
        <c:crosses val="autoZero"/>
        <c:auto val="1"/>
        <c:lblAlgn val="ctr"/>
        <c:lblOffset val="100"/>
        <c:noMultiLvlLbl val="0"/>
      </c:catAx>
      <c:valAx>
        <c:axId val="1858194079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8498531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da-DK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7033918-B5A7-4020-81E5-B4C55EA439E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BAA74D7-7DED-429A-ADE6-A561A458D34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070452E-462F-400B-A282-5C41EC7D3501}" type="datetimeFigureOut">
              <a:rPr lang="en-GB" smtClean="0">
                <a:latin typeface="Arial" panose="020B0604020202020204" pitchFamily="34" charset="0"/>
              </a:rPr>
              <a:t>23/03/2023</a:t>
            </a:fld>
            <a:endParaRPr lang="en-GB">
              <a:latin typeface="Arial" panose="020B06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C0C3921-CFAD-4D2A-B645-8AE4D74B806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EB35D2-521A-4D91-8918-100965C64ED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676C12-CF06-46EB-B7B1-3AA4CEA859E7}" type="slidenum">
              <a:rPr lang="en-GB" smtClean="0">
                <a:latin typeface="Arial" panose="020B0604020202020204" pitchFamily="34" charset="0"/>
              </a:rPr>
              <a:t>‹#›</a:t>
            </a:fld>
            <a:endParaRPr lang="en-GB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76009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DA2C52-8F66-4064-A11F-04B3EC4200CF}" type="datetimeFigureOut">
              <a:rPr lang="en-IN" smtClean="0">
                <a:latin typeface="Arial" panose="020B0604020202020204" pitchFamily="34" charset="0"/>
              </a:rPr>
              <a:t>23-03-2023</a:t>
            </a:fld>
            <a:endParaRPr lang="en-IN">
              <a:latin typeface="Arial" panose="020B0604020202020204" pitchFamily="34" charset="0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>
              <a:latin typeface="Arial" panose="020B0604020202020204" pitchFamily="34" charset="0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>
              <a:latin typeface="Arial" panose="020B060402020202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C79154-767E-4FA0-9228-6FDBEECC10CE}" type="slidenum">
              <a:rPr lang="en-IN" smtClean="0">
                <a:latin typeface="Arial" panose="020B0604020202020204" pitchFamily="34" charset="0"/>
              </a:rPr>
              <a:t>‹#›</a:t>
            </a:fld>
            <a:endParaRPr lang="en-IN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7374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C79154-767E-4FA0-9228-6FDBEECC10CE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34359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11.svg"/><Relationship Id="rId5" Type="http://schemas.openxmlformats.org/officeDocument/2006/relationships/image" Target="../media/image7.png"/><Relationship Id="rId4" Type="http://schemas.openxmlformats.org/officeDocument/2006/relationships/image" Target="../media/image10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12.svg"/><Relationship Id="rId5" Type="http://schemas.openxmlformats.org/officeDocument/2006/relationships/image" Target="../media/image5.png"/><Relationship Id="rId4" Type="http://schemas.openxmlformats.org/officeDocument/2006/relationships/image" Target="../media/image10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11.svg"/><Relationship Id="rId5" Type="http://schemas.openxmlformats.org/officeDocument/2006/relationships/image" Target="../media/image7.png"/><Relationship Id="rId4" Type="http://schemas.openxmlformats.org/officeDocument/2006/relationships/image" Target="../media/image10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12.svg"/><Relationship Id="rId5" Type="http://schemas.openxmlformats.org/officeDocument/2006/relationships/image" Target="../media/image5.png"/><Relationship Id="rId4" Type="http://schemas.openxmlformats.org/officeDocument/2006/relationships/image" Target="../media/image10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9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cov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CB3A07CD-B899-43FD-8A73-45BC4833D1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9279" y="2565294"/>
            <a:ext cx="3888000" cy="914400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90000"/>
              </a:lnSpc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resentation </a:t>
            </a:r>
            <a:r>
              <a:rPr lang="en-US"/>
              <a:t>Title </a:t>
            </a:r>
            <a:br>
              <a:rPr lang="en-US"/>
            </a:br>
            <a:r>
              <a:rPr lang="en-US"/>
              <a:t>is </a:t>
            </a:r>
            <a:r>
              <a:rPr lang="en-US" dirty="0"/>
              <a:t>written here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A209CA9-A888-464A-83BA-4DA79ABAF2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9279" y="3590381"/>
            <a:ext cx="3888000" cy="276225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resentation Subtitle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5D237AB7-C4CB-4A29-96EF-20265D8AB25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7" y="5634446"/>
            <a:ext cx="3708000" cy="530362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50000"/>
              </a:lnSpc>
              <a:buNone/>
              <a:defRPr sz="1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Name / Date / Author</a:t>
            </a:r>
            <a:endParaRPr lang="en-US" dirty="0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E595719D-61DD-4315-A03C-9F73BCEC009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513717" y="-1"/>
            <a:ext cx="7690984" cy="6858001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F6AF8A1-FCA3-4C3A-A473-570BB7C7E55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0969480" y="6415984"/>
            <a:ext cx="809770" cy="25718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500"/>
            </a:lvl1pPr>
          </a:lstStyle>
          <a:p>
            <a:r>
              <a:rPr lang="en-US"/>
              <a:t>Click icon to add pictur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075501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3 Content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273EBB05-C2B7-43DF-9D45-00491AD429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7" y="238126"/>
            <a:ext cx="11376000" cy="25536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Topic headline – Arial – 14pt – </a:t>
            </a:r>
            <a:r>
              <a:rPr lang="en-US" noProof="0" dirty="0" err="1"/>
              <a:t>Epinion</a:t>
            </a:r>
            <a:r>
              <a:rPr lang="en-US" noProof="0" dirty="0"/>
              <a:t> Red</a:t>
            </a:r>
          </a:p>
        </p:txBody>
      </p:sp>
      <p:sp>
        <p:nvSpPr>
          <p:cNvPr id="2" name="Sub Title">
            <a:extLst>
              <a:ext uri="{FF2B5EF4-FFF2-40B4-BE49-F238E27FC236}">
                <a16:creationId xmlns:a16="http://schemas.microsoft.com/office/drawing/2014/main" id="{82039995-8FDE-4644-A620-C912E2278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7" y="481816"/>
            <a:ext cx="11376000" cy="643599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dirty="0"/>
              <a:t>Action title – 22pt – Arial – Bold – Dark Blue</a:t>
            </a:r>
            <a:br>
              <a:rPr lang="en-US" dirty="0"/>
            </a:br>
            <a:r>
              <a:rPr lang="en-US" dirty="0"/>
              <a:t>Maximum two lines</a:t>
            </a:r>
            <a:endParaRPr lang="en-IN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AC71521-BF6D-4E18-8F4E-E2FB43D37B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8034" y="6459415"/>
            <a:ext cx="487362" cy="15240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92103799-4748-4C4F-A17A-6CEDBDE457E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1896D570-576D-4DCE-B757-CAE101CA58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14" name="Caption">
            <a:extLst>
              <a:ext uri="{FF2B5EF4-FFF2-40B4-BE49-F238E27FC236}">
                <a16:creationId xmlns:a16="http://schemas.microsoft.com/office/drawing/2014/main" id="{B648FAD8-098B-491D-ACB7-2363F92830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7" y="1460600"/>
            <a:ext cx="3456000" cy="468000"/>
          </a:xfrm>
        </p:spPr>
        <p:txBody>
          <a:bodyPr lIns="0" tIns="0" rIns="0" bIns="72000" anchor="b" anchorCtr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4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aption – 14pt – Arial – Bold – Dark Blue – Maximum two lines</a:t>
            </a:r>
          </a:p>
        </p:txBody>
      </p:sp>
      <p:sp>
        <p:nvSpPr>
          <p:cNvPr id="16" name="Base">
            <a:extLst>
              <a:ext uri="{FF2B5EF4-FFF2-40B4-BE49-F238E27FC236}">
                <a16:creationId xmlns:a16="http://schemas.microsoft.com/office/drawing/2014/main" id="{AA8B3B65-AB4C-479F-A6F5-210DBDF017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7" y="1983426"/>
            <a:ext cx="180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ase/Unit</a:t>
            </a:r>
          </a:p>
        </p:txBody>
      </p:sp>
      <p:sp>
        <p:nvSpPr>
          <p:cNvPr id="19" name="Content Placeholder">
            <a:extLst>
              <a:ext uri="{FF2B5EF4-FFF2-40B4-BE49-F238E27FC236}">
                <a16:creationId xmlns:a16="http://schemas.microsoft.com/office/drawing/2014/main" id="{04277EA4-F1AD-48F1-95E4-ECA54F8D5B0D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07987" y="2204191"/>
            <a:ext cx="3456000" cy="3961660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000"/>
              </a:spcAft>
              <a:buFontTx/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22" name="Redline">
            <a:extLst>
              <a:ext uri="{FF2B5EF4-FFF2-40B4-BE49-F238E27FC236}">
                <a16:creationId xmlns:a16="http://schemas.microsoft.com/office/drawing/2014/main" id="{AE6929EC-C681-497C-AA27-8A396B0C0AD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07987" y="1919076"/>
            <a:ext cx="3456000" cy="12700"/>
          </a:xfrm>
          <a:solidFill>
            <a:schemeClr val="tx2"/>
          </a:solidFill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aption">
            <a:extLst>
              <a:ext uri="{FF2B5EF4-FFF2-40B4-BE49-F238E27FC236}">
                <a16:creationId xmlns:a16="http://schemas.microsoft.com/office/drawing/2014/main" id="{67710B22-F1F1-4A6C-BD0B-6AD10364D34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68000" y="1460600"/>
            <a:ext cx="3456000" cy="468000"/>
          </a:xfrm>
        </p:spPr>
        <p:txBody>
          <a:bodyPr lIns="0" tIns="0" rIns="0" bIns="72000" anchor="b" anchorCtr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4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aption – 14pt – Arial – Bold – Dark Blue – Maximum two lines</a:t>
            </a:r>
          </a:p>
        </p:txBody>
      </p:sp>
      <p:sp>
        <p:nvSpPr>
          <p:cNvPr id="13" name="Base">
            <a:extLst>
              <a:ext uri="{FF2B5EF4-FFF2-40B4-BE49-F238E27FC236}">
                <a16:creationId xmlns:a16="http://schemas.microsoft.com/office/drawing/2014/main" id="{12298C37-0CD5-4221-AA09-B93B8E9970D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68000" y="1983426"/>
            <a:ext cx="180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ase/Unit</a:t>
            </a:r>
          </a:p>
        </p:txBody>
      </p:sp>
      <p:sp>
        <p:nvSpPr>
          <p:cNvPr id="15" name="Content Placeholder">
            <a:extLst>
              <a:ext uri="{FF2B5EF4-FFF2-40B4-BE49-F238E27FC236}">
                <a16:creationId xmlns:a16="http://schemas.microsoft.com/office/drawing/2014/main" id="{4DF01E8F-4E09-4192-A155-A5BBDCE8425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4368000" y="2204191"/>
            <a:ext cx="3456000" cy="3961660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000"/>
              </a:spcAft>
              <a:buFontTx/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17" name="Redline">
            <a:extLst>
              <a:ext uri="{FF2B5EF4-FFF2-40B4-BE49-F238E27FC236}">
                <a16:creationId xmlns:a16="http://schemas.microsoft.com/office/drawing/2014/main" id="{E10974A4-5A67-4B66-B264-442DD1EABE9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368000" y="1919076"/>
            <a:ext cx="3456000" cy="12700"/>
          </a:xfrm>
          <a:solidFill>
            <a:schemeClr val="tx2"/>
          </a:solidFill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Caption">
            <a:extLst>
              <a:ext uri="{FF2B5EF4-FFF2-40B4-BE49-F238E27FC236}">
                <a16:creationId xmlns:a16="http://schemas.microsoft.com/office/drawing/2014/main" id="{D90E1213-138B-4DE9-9E0C-A110EEB0D0A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327987" y="1460600"/>
            <a:ext cx="3456000" cy="468000"/>
          </a:xfrm>
        </p:spPr>
        <p:txBody>
          <a:bodyPr lIns="0" tIns="0" rIns="0" bIns="72000" anchor="b" anchorCtr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4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aption – 14pt – Arial – Bold – Dark Blue – Maximum two lines</a:t>
            </a:r>
          </a:p>
        </p:txBody>
      </p:sp>
      <p:sp>
        <p:nvSpPr>
          <p:cNvPr id="23" name="Base">
            <a:extLst>
              <a:ext uri="{FF2B5EF4-FFF2-40B4-BE49-F238E27FC236}">
                <a16:creationId xmlns:a16="http://schemas.microsoft.com/office/drawing/2014/main" id="{7E9213FC-67E7-479A-971A-5732A565C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27987" y="1983426"/>
            <a:ext cx="180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ase/Unit</a:t>
            </a:r>
          </a:p>
        </p:txBody>
      </p:sp>
      <p:sp>
        <p:nvSpPr>
          <p:cNvPr id="24" name="Content Placeholder">
            <a:extLst>
              <a:ext uri="{FF2B5EF4-FFF2-40B4-BE49-F238E27FC236}">
                <a16:creationId xmlns:a16="http://schemas.microsoft.com/office/drawing/2014/main" id="{72FA5626-C484-447E-9202-011AEB553D9C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8327987" y="2204191"/>
            <a:ext cx="3456000" cy="3961660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000"/>
              </a:spcAft>
              <a:buFontTx/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25" name="Redline">
            <a:extLst>
              <a:ext uri="{FF2B5EF4-FFF2-40B4-BE49-F238E27FC236}">
                <a16:creationId xmlns:a16="http://schemas.microsoft.com/office/drawing/2014/main" id="{257DFD7E-299A-4DA4-A698-3ADF8AA9A6E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327987" y="1919076"/>
            <a:ext cx="3456000" cy="12700"/>
          </a:xfrm>
          <a:solidFill>
            <a:schemeClr val="tx2"/>
          </a:solidFill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73178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4 Content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273EBB05-C2B7-43DF-9D45-00491AD429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7" y="238126"/>
            <a:ext cx="11376000" cy="25536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Topic headline – Arial – 14pt – </a:t>
            </a:r>
            <a:r>
              <a:rPr lang="en-US" noProof="0" dirty="0" err="1"/>
              <a:t>Epinion</a:t>
            </a:r>
            <a:r>
              <a:rPr lang="en-US" noProof="0" dirty="0"/>
              <a:t> Red</a:t>
            </a:r>
          </a:p>
        </p:txBody>
      </p:sp>
      <p:sp>
        <p:nvSpPr>
          <p:cNvPr id="2" name="Sub Title">
            <a:extLst>
              <a:ext uri="{FF2B5EF4-FFF2-40B4-BE49-F238E27FC236}">
                <a16:creationId xmlns:a16="http://schemas.microsoft.com/office/drawing/2014/main" id="{82039995-8FDE-4644-A620-C912E2278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7" y="481816"/>
            <a:ext cx="11376000" cy="643599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dirty="0"/>
              <a:t>Action title – 22pt – Arial – Bold – Dark Blue</a:t>
            </a:r>
            <a:br>
              <a:rPr lang="en-US" dirty="0"/>
            </a:br>
            <a:r>
              <a:rPr lang="en-US" dirty="0"/>
              <a:t>Maximum two lines</a:t>
            </a:r>
            <a:endParaRPr lang="en-IN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AC71521-BF6D-4E18-8F4E-E2FB43D37B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8034" y="6459415"/>
            <a:ext cx="487362" cy="15240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92103799-4748-4C4F-A17A-6CEDBDE457E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1896D570-576D-4DCE-B757-CAE101CA58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14" name="Caption">
            <a:extLst>
              <a:ext uri="{FF2B5EF4-FFF2-40B4-BE49-F238E27FC236}">
                <a16:creationId xmlns:a16="http://schemas.microsoft.com/office/drawing/2014/main" id="{B648FAD8-098B-491D-ACB7-2363F92830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7" y="1460600"/>
            <a:ext cx="2466000" cy="468000"/>
          </a:xfrm>
        </p:spPr>
        <p:txBody>
          <a:bodyPr lIns="0" tIns="0" rIns="0" bIns="72000" anchor="b" anchorCtr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4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aption – 14pt – Arial – Bold – Dark Blue</a:t>
            </a:r>
          </a:p>
        </p:txBody>
      </p:sp>
      <p:sp>
        <p:nvSpPr>
          <p:cNvPr id="16" name="Base">
            <a:extLst>
              <a:ext uri="{FF2B5EF4-FFF2-40B4-BE49-F238E27FC236}">
                <a16:creationId xmlns:a16="http://schemas.microsoft.com/office/drawing/2014/main" id="{AA8B3B65-AB4C-479F-A6F5-210DBDF017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7" y="1983426"/>
            <a:ext cx="180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ase/Unit</a:t>
            </a:r>
          </a:p>
        </p:txBody>
      </p:sp>
      <p:sp>
        <p:nvSpPr>
          <p:cNvPr id="19" name="Content Placeholder">
            <a:extLst>
              <a:ext uri="{FF2B5EF4-FFF2-40B4-BE49-F238E27FC236}">
                <a16:creationId xmlns:a16="http://schemas.microsoft.com/office/drawing/2014/main" id="{04277EA4-F1AD-48F1-95E4-ECA54F8D5B0D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07987" y="2204191"/>
            <a:ext cx="2466000" cy="3961660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000"/>
              </a:spcAft>
              <a:buFontTx/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22" name="Redline">
            <a:extLst>
              <a:ext uri="{FF2B5EF4-FFF2-40B4-BE49-F238E27FC236}">
                <a16:creationId xmlns:a16="http://schemas.microsoft.com/office/drawing/2014/main" id="{AE6929EC-C681-497C-AA27-8A396B0C0AD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07987" y="1919076"/>
            <a:ext cx="2466000" cy="12700"/>
          </a:xfrm>
          <a:solidFill>
            <a:schemeClr val="tx2"/>
          </a:solidFill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aption">
            <a:extLst>
              <a:ext uri="{FF2B5EF4-FFF2-40B4-BE49-F238E27FC236}">
                <a16:creationId xmlns:a16="http://schemas.microsoft.com/office/drawing/2014/main" id="{67710B22-F1F1-4A6C-BD0B-6AD10364D34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77996" y="1460600"/>
            <a:ext cx="2466000" cy="468000"/>
          </a:xfrm>
        </p:spPr>
        <p:txBody>
          <a:bodyPr lIns="0" tIns="0" rIns="0" bIns="72000" anchor="b" anchorCtr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4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aption – 14pt – Arial – Bold – Dark Blue</a:t>
            </a:r>
          </a:p>
        </p:txBody>
      </p:sp>
      <p:sp>
        <p:nvSpPr>
          <p:cNvPr id="13" name="Base">
            <a:extLst>
              <a:ext uri="{FF2B5EF4-FFF2-40B4-BE49-F238E27FC236}">
                <a16:creationId xmlns:a16="http://schemas.microsoft.com/office/drawing/2014/main" id="{12298C37-0CD5-4221-AA09-B93B8E9970D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377996" y="1983426"/>
            <a:ext cx="180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ase/Unit</a:t>
            </a:r>
          </a:p>
        </p:txBody>
      </p:sp>
      <p:sp>
        <p:nvSpPr>
          <p:cNvPr id="15" name="Content Placeholder">
            <a:extLst>
              <a:ext uri="{FF2B5EF4-FFF2-40B4-BE49-F238E27FC236}">
                <a16:creationId xmlns:a16="http://schemas.microsoft.com/office/drawing/2014/main" id="{4DF01E8F-4E09-4192-A155-A5BBDCE8425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377996" y="2204191"/>
            <a:ext cx="2466000" cy="3961660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000"/>
              </a:spcAft>
              <a:buFontTx/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17" name="Redline">
            <a:extLst>
              <a:ext uri="{FF2B5EF4-FFF2-40B4-BE49-F238E27FC236}">
                <a16:creationId xmlns:a16="http://schemas.microsoft.com/office/drawing/2014/main" id="{E10974A4-5A67-4B66-B264-442DD1EABE9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77996" y="1919076"/>
            <a:ext cx="2466000" cy="12700"/>
          </a:xfrm>
          <a:solidFill>
            <a:schemeClr val="tx2"/>
          </a:solidFill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Caption">
            <a:extLst>
              <a:ext uri="{FF2B5EF4-FFF2-40B4-BE49-F238E27FC236}">
                <a16:creationId xmlns:a16="http://schemas.microsoft.com/office/drawing/2014/main" id="{D90E1213-138B-4DE9-9E0C-A110EEB0D0A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48005" y="1460600"/>
            <a:ext cx="2466000" cy="468000"/>
          </a:xfrm>
        </p:spPr>
        <p:txBody>
          <a:bodyPr lIns="0" tIns="0" rIns="0" bIns="72000" anchor="b" anchorCtr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4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aption – 14pt – Arial – Bold – Dark Blue</a:t>
            </a:r>
          </a:p>
        </p:txBody>
      </p:sp>
      <p:sp>
        <p:nvSpPr>
          <p:cNvPr id="23" name="Base">
            <a:extLst>
              <a:ext uri="{FF2B5EF4-FFF2-40B4-BE49-F238E27FC236}">
                <a16:creationId xmlns:a16="http://schemas.microsoft.com/office/drawing/2014/main" id="{7E9213FC-67E7-479A-971A-5732A565C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48005" y="1983426"/>
            <a:ext cx="180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ase/Unit</a:t>
            </a:r>
          </a:p>
        </p:txBody>
      </p:sp>
      <p:sp>
        <p:nvSpPr>
          <p:cNvPr id="24" name="Content Placeholder">
            <a:extLst>
              <a:ext uri="{FF2B5EF4-FFF2-40B4-BE49-F238E27FC236}">
                <a16:creationId xmlns:a16="http://schemas.microsoft.com/office/drawing/2014/main" id="{72FA5626-C484-447E-9202-011AEB553D9C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6348005" y="2204191"/>
            <a:ext cx="2466000" cy="3961660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000"/>
              </a:spcAft>
              <a:buFontTx/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25" name="Redline">
            <a:extLst>
              <a:ext uri="{FF2B5EF4-FFF2-40B4-BE49-F238E27FC236}">
                <a16:creationId xmlns:a16="http://schemas.microsoft.com/office/drawing/2014/main" id="{257DFD7E-299A-4DA4-A698-3ADF8AA9A6E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48005" y="1919076"/>
            <a:ext cx="2466000" cy="12700"/>
          </a:xfrm>
          <a:solidFill>
            <a:schemeClr val="tx2"/>
          </a:solidFill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Caption">
            <a:extLst>
              <a:ext uri="{FF2B5EF4-FFF2-40B4-BE49-F238E27FC236}">
                <a16:creationId xmlns:a16="http://schemas.microsoft.com/office/drawing/2014/main" id="{BC2C89E3-8BD9-406A-B2B7-14DB39EDC17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317987" y="1460600"/>
            <a:ext cx="2466000" cy="468000"/>
          </a:xfrm>
        </p:spPr>
        <p:txBody>
          <a:bodyPr lIns="0" tIns="0" rIns="0" bIns="72000" anchor="b" anchorCtr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4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aption – 14pt – Arial – Bold – Dark Blue</a:t>
            </a:r>
          </a:p>
        </p:txBody>
      </p:sp>
      <p:sp>
        <p:nvSpPr>
          <p:cNvPr id="30" name="Base">
            <a:extLst>
              <a:ext uri="{FF2B5EF4-FFF2-40B4-BE49-F238E27FC236}">
                <a16:creationId xmlns:a16="http://schemas.microsoft.com/office/drawing/2014/main" id="{AD2D4756-2CF8-4648-A3B1-C8FD2BEF29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317987" y="1983426"/>
            <a:ext cx="180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ase/Unit</a:t>
            </a:r>
          </a:p>
        </p:txBody>
      </p:sp>
      <p:sp>
        <p:nvSpPr>
          <p:cNvPr id="31" name="Content Placeholder">
            <a:extLst>
              <a:ext uri="{FF2B5EF4-FFF2-40B4-BE49-F238E27FC236}">
                <a16:creationId xmlns:a16="http://schemas.microsoft.com/office/drawing/2014/main" id="{B6A5EFD5-4B12-4E2B-B15F-FA081F601846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9317987" y="2204191"/>
            <a:ext cx="2466000" cy="3961660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000"/>
              </a:spcAft>
              <a:buFontTx/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32" name="Redline">
            <a:extLst>
              <a:ext uri="{FF2B5EF4-FFF2-40B4-BE49-F238E27FC236}">
                <a16:creationId xmlns:a16="http://schemas.microsoft.com/office/drawing/2014/main" id="{1A9064ED-F4E1-4DB9-9AA6-86C8587D09A2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317987" y="1919076"/>
            <a:ext cx="2466000" cy="12700"/>
          </a:xfrm>
          <a:solidFill>
            <a:schemeClr val="tx2"/>
          </a:solidFill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739008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 Placeholder &amp; su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273EBB05-C2B7-43DF-9D45-00491AD429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7" y="238126"/>
            <a:ext cx="11376000" cy="25536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Topic headline – Arial – 14pt – </a:t>
            </a:r>
            <a:r>
              <a:rPr lang="en-US" noProof="0" dirty="0" err="1"/>
              <a:t>Epinion</a:t>
            </a:r>
            <a:r>
              <a:rPr lang="en-US" noProof="0" dirty="0"/>
              <a:t> Red</a:t>
            </a:r>
          </a:p>
        </p:txBody>
      </p:sp>
      <p:sp>
        <p:nvSpPr>
          <p:cNvPr id="2" name="Sub Title">
            <a:extLst>
              <a:ext uri="{FF2B5EF4-FFF2-40B4-BE49-F238E27FC236}">
                <a16:creationId xmlns:a16="http://schemas.microsoft.com/office/drawing/2014/main" id="{82039995-8FDE-4644-A620-C912E2278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7" y="481816"/>
            <a:ext cx="11376000" cy="643599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dirty="0"/>
              <a:t>Action title – 22pt – Arial – Bold – Dark Blue</a:t>
            </a:r>
            <a:br>
              <a:rPr lang="en-US" dirty="0"/>
            </a:br>
            <a:r>
              <a:rPr lang="en-US" dirty="0"/>
              <a:t>Maximum two lines</a:t>
            </a:r>
            <a:endParaRPr lang="en-IN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AC71521-BF6D-4E18-8F4E-E2FB43D37B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8034" y="6459415"/>
            <a:ext cx="487362" cy="15240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92103799-4748-4C4F-A17A-6CEDBDE457E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1896D570-576D-4DCE-B757-CAE101CA58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14" name="Caption">
            <a:extLst>
              <a:ext uri="{FF2B5EF4-FFF2-40B4-BE49-F238E27FC236}">
                <a16:creationId xmlns:a16="http://schemas.microsoft.com/office/drawing/2014/main" id="{B648FAD8-098B-491D-ACB7-2363F92830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7" y="1460600"/>
            <a:ext cx="7416000" cy="468000"/>
          </a:xfrm>
        </p:spPr>
        <p:txBody>
          <a:bodyPr lIns="0" tIns="0" rIns="0" bIns="72000" anchor="b" anchorCtr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4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aption – 14pt – Arial – Bold – Dark Blue </a:t>
            </a:r>
          </a:p>
          <a:p>
            <a:pPr lvl="0"/>
            <a:r>
              <a:rPr lang="en-US"/>
              <a:t>– Maximum two lines</a:t>
            </a:r>
          </a:p>
        </p:txBody>
      </p:sp>
      <p:sp>
        <p:nvSpPr>
          <p:cNvPr id="16" name="Base">
            <a:extLst>
              <a:ext uri="{FF2B5EF4-FFF2-40B4-BE49-F238E27FC236}">
                <a16:creationId xmlns:a16="http://schemas.microsoft.com/office/drawing/2014/main" id="{AA8B3B65-AB4C-479F-A6F5-210DBDF017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7" y="1983426"/>
            <a:ext cx="180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ase/Unit</a:t>
            </a:r>
          </a:p>
        </p:txBody>
      </p:sp>
      <p:sp>
        <p:nvSpPr>
          <p:cNvPr id="19" name="Content Placeholder">
            <a:extLst>
              <a:ext uri="{FF2B5EF4-FFF2-40B4-BE49-F238E27FC236}">
                <a16:creationId xmlns:a16="http://schemas.microsoft.com/office/drawing/2014/main" id="{04277EA4-F1AD-48F1-95E4-ECA54F8D5B0D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07987" y="2204191"/>
            <a:ext cx="7416000" cy="3961660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000"/>
              </a:spcAft>
              <a:buFontTx/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22" name="Redline">
            <a:extLst>
              <a:ext uri="{FF2B5EF4-FFF2-40B4-BE49-F238E27FC236}">
                <a16:creationId xmlns:a16="http://schemas.microsoft.com/office/drawing/2014/main" id="{AE6929EC-C681-497C-AA27-8A396B0C0AD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07987" y="1919076"/>
            <a:ext cx="7416000" cy="12700"/>
          </a:xfrm>
          <a:solidFill>
            <a:schemeClr val="tx2"/>
          </a:solidFill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">
            <a:extLst>
              <a:ext uri="{FF2B5EF4-FFF2-40B4-BE49-F238E27FC236}">
                <a16:creationId xmlns:a16="http://schemas.microsoft.com/office/drawing/2014/main" id="{6F54FDE8-BE40-469B-ACA6-23C903C54D8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327987" y="1463674"/>
            <a:ext cx="3456000" cy="4702166"/>
          </a:xfrm>
          <a:solidFill>
            <a:schemeClr val="accent2"/>
          </a:solidFill>
        </p:spPr>
        <p:txBody>
          <a:bodyPr lIns="144000" tIns="144000" rIns="144000" bIns="144000">
            <a:noAutofit/>
          </a:bodyPr>
          <a:lstStyle>
            <a:lvl1pPr marL="0" indent="0">
              <a:spcAft>
                <a:spcPts val="600"/>
              </a:spcAft>
              <a:buFontTx/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7877380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 Placeholder &amp; su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273EBB05-C2B7-43DF-9D45-00491AD429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7" y="238126"/>
            <a:ext cx="11376000" cy="25536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Topic headline – Arial – 14pt – </a:t>
            </a:r>
            <a:r>
              <a:rPr lang="en-US" noProof="0" dirty="0" err="1"/>
              <a:t>Epinion</a:t>
            </a:r>
            <a:r>
              <a:rPr lang="en-US" noProof="0" dirty="0"/>
              <a:t> Red</a:t>
            </a:r>
          </a:p>
        </p:txBody>
      </p:sp>
      <p:sp>
        <p:nvSpPr>
          <p:cNvPr id="2" name="Sub Title">
            <a:extLst>
              <a:ext uri="{FF2B5EF4-FFF2-40B4-BE49-F238E27FC236}">
                <a16:creationId xmlns:a16="http://schemas.microsoft.com/office/drawing/2014/main" id="{82039995-8FDE-4644-A620-C912E2278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7" y="481816"/>
            <a:ext cx="11376000" cy="643599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dirty="0"/>
              <a:t>Action title – 22pt – Arial – Bold – Dark Blue</a:t>
            </a:r>
            <a:br>
              <a:rPr lang="en-US" dirty="0"/>
            </a:br>
            <a:r>
              <a:rPr lang="en-US" dirty="0"/>
              <a:t>Maximum two lines</a:t>
            </a:r>
            <a:endParaRPr lang="en-IN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AC71521-BF6D-4E18-8F4E-E2FB43D37B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8034" y="6459415"/>
            <a:ext cx="487362" cy="15240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92103799-4748-4C4F-A17A-6CEDBDE457E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1896D570-576D-4DCE-B757-CAE101CA58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14" name="Caption">
            <a:extLst>
              <a:ext uri="{FF2B5EF4-FFF2-40B4-BE49-F238E27FC236}">
                <a16:creationId xmlns:a16="http://schemas.microsoft.com/office/drawing/2014/main" id="{B648FAD8-098B-491D-ACB7-2363F92830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7" y="1460600"/>
            <a:ext cx="8424000" cy="468000"/>
          </a:xfrm>
        </p:spPr>
        <p:txBody>
          <a:bodyPr lIns="0" tIns="0" rIns="0" bIns="72000" anchor="b" anchorCtr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4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aption – 14pt – Arial – Bold – Dark Blue </a:t>
            </a:r>
          </a:p>
          <a:p>
            <a:pPr lvl="0"/>
            <a:r>
              <a:rPr lang="en-US"/>
              <a:t>– Maximum two lines</a:t>
            </a:r>
          </a:p>
        </p:txBody>
      </p:sp>
      <p:sp>
        <p:nvSpPr>
          <p:cNvPr id="16" name="Base">
            <a:extLst>
              <a:ext uri="{FF2B5EF4-FFF2-40B4-BE49-F238E27FC236}">
                <a16:creationId xmlns:a16="http://schemas.microsoft.com/office/drawing/2014/main" id="{AA8B3B65-AB4C-479F-A6F5-210DBDF017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7" y="1983426"/>
            <a:ext cx="180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ase/Unit</a:t>
            </a:r>
          </a:p>
        </p:txBody>
      </p:sp>
      <p:sp>
        <p:nvSpPr>
          <p:cNvPr id="19" name="Content Placeholder">
            <a:extLst>
              <a:ext uri="{FF2B5EF4-FFF2-40B4-BE49-F238E27FC236}">
                <a16:creationId xmlns:a16="http://schemas.microsoft.com/office/drawing/2014/main" id="{04277EA4-F1AD-48F1-95E4-ECA54F8D5B0D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07987" y="2204191"/>
            <a:ext cx="8424000" cy="3961660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000"/>
              </a:spcAft>
              <a:buFontTx/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22" name="Redline">
            <a:extLst>
              <a:ext uri="{FF2B5EF4-FFF2-40B4-BE49-F238E27FC236}">
                <a16:creationId xmlns:a16="http://schemas.microsoft.com/office/drawing/2014/main" id="{AE6929EC-C681-497C-AA27-8A396B0C0AD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07987" y="1919076"/>
            <a:ext cx="8424000" cy="12700"/>
          </a:xfrm>
          <a:solidFill>
            <a:schemeClr val="tx2"/>
          </a:solidFill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">
            <a:extLst>
              <a:ext uri="{FF2B5EF4-FFF2-40B4-BE49-F238E27FC236}">
                <a16:creationId xmlns:a16="http://schemas.microsoft.com/office/drawing/2014/main" id="{6F54FDE8-BE40-469B-ACA6-23C903C54D8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317987" y="1463674"/>
            <a:ext cx="2466000" cy="4702166"/>
          </a:xfrm>
          <a:solidFill>
            <a:schemeClr val="accent2"/>
          </a:solidFill>
        </p:spPr>
        <p:txBody>
          <a:bodyPr lIns="144000" tIns="144000" rIns="144000" bIns="144000">
            <a:noAutofit/>
          </a:bodyPr>
          <a:lstStyle>
            <a:lvl1pPr marL="0" indent="0">
              <a:spcAft>
                <a:spcPts val="600"/>
              </a:spcAft>
              <a:buFontTx/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29658756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 Placeholder &amp; 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273EBB05-C2B7-43DF-9D45-00491AD429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7" y="238126"/>
            <a:ext cx="11376000" cy="25536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Topic headline – Arial – 14pt – </a:t>
            </a:r>
            <a:r>
              <a:rPr lang="en-US" noProof="0" dirty="0" err="1"/>
              <a:t>Epinion</a:t>
            </a:r>
            <a:r>
              <a:rPr lang="en-US" noProof="0" dirty="0"/>
              <a:t> Red</a:t>
            </a:r>
          </a:p>
        </p:txBody>
      </p:sp>
      <p:sp>
        <p:nvSpPr>
          <p:cNvPr id="2" name="Sub Title">
            <a:extLst>
              <a:ext uri="{FF2B5EF4-FFF2-40B4-BE49-F238E27FC236}">
                <a16:creationId xmlns:a16="http://schemas.microsoft.com/office/drawing/2014/main" id="{82039995-8FDE-4644-A620-C912E2278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7" y="481816"/>
            <a:ext cx="11376000" cy="643599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dirty="0"/>
              <a:t>Action title – 22pt – Arial – Bold – Dark Blue</a:t>
            </a:r>
            <a:br>
              <a:rPr lang="en-US" dirty="0"/>
            </a:br>
            <a:r>
              <a:rPr lang="en-US" dirty="0"/>
              <a:t>Maximum two lines</a:t>
            </a:r>
            <a:endParaRPr lang="en-IN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AC71521-BF6D-4E18-8F4E-E2FB43D37B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8034" y="6459415"/>
            <a:ext cx="487362" cy="15240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92103799-4748-4C4F-A17A-6CEDBDE457E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1896D570-576D-4DCE-B757-CAE101CA58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14" name="Caption">
            <a:extLst>
              <a:ext uri="{FF2B5EF4-FFF2-40B4-BE49-F238E27FC236}">
                <a16:creationId xmlns:a16="http://schemas.microsoft.com/office/drawing/2014/main" id="{B648FAD8-098B-491D-ACB7-2363F92830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67987" y="1460600"/>
            <a:ext cx="7416000" cy="468000"/>
          </a:xfrm>
        </p:spPr>
        <p:txBody>
          <a:bodyPr lIns="0" tIns="0" rIns="0" bIns="72000" anchor="b" anchorCtr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4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aption – 14pt – Arial – Bold – Dark Blue </a:t>
            </a:r>
          </a:p>
          <a:p>
            <a:pPr lvl="0"/>
            <a:r>
              <a:rPr lang="en-US"/>
              <a:t>– Maximum two lines</a:t>
            </a:r>
          </a:p>
        </p:txBody>
      </p:sp>
      <p:sp>
        <p:nvSpPr>
          <p:cNvPr id="16" name="Base">
            <a:extLst>
              <a:ext uri="{FF2B5EF4-FFF2-40B4-BE49-F238E27FC236}">
                <a16:creationId xmlns:a16="http://schemas.microsoft.com/office/drawing/2014/main" id="{AA8B3B65-AB4C-479F-A6F5-210DBDF017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67987" y="1983426"/>
            <a:ext cx="180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ase/Unit</a:t>
            </a:r>
          </a:p>
        </p:txBody>
      </p:sp>
      <p:sp>
        <p:nvSpPr>
          <p:cNvPr id="19" name="Content Placeholder">
            <a:extLst>
              <a:ext uri="{FF2B5EF4-FFF2-40B4-BE49-F238E27FC236}">
                <a16:creationId xmlns:a16="http://schemas.microsoft.com/office/drawing/2014/main" id="{04277EA4-F1AD-48F1-95E4-ECA54F8D5B0D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67987" y="2204191"/>
            <a:ext cx="7416000" cy="3961660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000"/>
              </a:spcAft>
              <a:buFontTx/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22" name="Redline">
            <a:extLst>
              <a:ext uri="{FF2B5EF4-FFF2-40B4-BE49-F238E27FC236}">
                <a16:creationId xmlns:a16="http://schemas.microsoft.com/office/drawing/2014/main" id="{AE6929EC-C681-497C-AA27-8A396B0C0AD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67987" y="1919076"/>
            <a:ext cx="7416000" cy="12700"/>
          </a:xfrm>
          <a:solidFill>
            <a:schemeClr val="tx2"/>
          </a:solidFill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5F40C582-19A9-4BDC-9BDB-E7F9E47297C5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07987" y="1450975"/>
            <a:ext cx="3456000" cy="4714875"/>
          </a:xfrm>
        </p:spPr>
        <p:txBody>
          <a:bodyPr lIns="0" tIns="0" rIns="0" bIns="0">
            <a:noAutofit/>
          </a:bodyPr>
          <a:lstStyle>
            <a:lvl1pPr marL="144000" indent="-144000">
              <a:lnSpc>
                <a:spcPct val="110000"/>
              </a:lnSpc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1440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32000" indent="-1440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6029059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 Placeholder &amp; ch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273EBB05-C2B7-43DF-9D45-00491AD429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7" y="238126"/>
            <a:ext cx="11376000" cy="25536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Topic headline – Arial – 14pt – </a:t>
            </a:r>
            <a:r>
              <a:rPr lang="en-US" noProof="0" dirty="0" err="1"/>
              <a:t>Epinion</a:t>
            </a:r>
            <a:r>
              <a:rPr lang="en-US" noProof="0" dirty="0"/>
              <a:t> Red</a:t>
            </a:r>
          </a:p>
        </p:txBody>
      </p:sp>
      <p:sp>
        <p:nvSpPr>
          <p:cNvPr id="2" name="Sub Title">
            <a:extLst>
              <a:ext uri="{FF2B5EF4-FFF2-40B4-BE49-F238E27FC236}">
                <a16:creationId xmlns:a16="http://schemas.microsoft.com/office/drawing/2014/main" id="{82039995-8FDE-4644-A620-C912E2278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7" y="481816"/>
            <a:ext cx="11376000" cy="643599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dirty="0"/>
              <a:t>Action title – 22pt – Arial – Bold – Dark Blue</a:t>
            </a:r>
            <a:br>
              <a:rPr lang="en-US" dirty="0"/>
            </a:br>
            <a:r>
              <a:rPr lang="en-US" dirty="0"/>
              <a:t>Maximum two lines</a:t>
            </a:r>
            <a:endParaRPr lang="en-IN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AC71521-BF6D-4E18-8F4E-E2FB43D37B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8034" y="6459415"/>
            <a:ext cx="487362" cy="15240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92103799-4748-4C4F-A17A-6CEDBDE457E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1896D570-576D-4DCE-B757-CAE101CA58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14" name="Caption">
            <a:extLst>
              <a:ext uri="{FF2B5EF4-FFF2-40B4-BE49-F238E27FC236}">
                <a16:creationId xmlns:a16="http://schemas.microsoft.com/office/drawing/2014/main" id="{B648FAD8-098B-491D-ACB7-2363F92830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67987" y="1460600"/>
            <a:ext cx="3456000" cy="468000"/>
          </a:xfrm>
        </p:spPr>
        <p:txBody>
          <a:bodyPr lIns="0" tIns="0" rIns="0" bIns="72000" anchor="b" anchorCtr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4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aption – 14pt – Arial – Bold – Dark Blue </a:t>
            </a:r>
          </a:p>
          <a:p>
            <a:pPr lvl="0"/>
            <a:r>
              <a:rPr lang="en-US"/>
              <a:t>– Maximum two lines</a:t>
            </a:r>
          </a:p>
        </p:txBody>
      </p:sp>
      <p:sp>
        <p:nvSpPr>
          <p:cNvPr id="16" name="Base">
            <a:extLst>
              <a:ext uri="{FF2B5EF4-FFF2-40B4-BE49-F238E27FC236}">
                <a16:creationId xmlns:a16="http://schemas.microsoft.com/office/drawing/2014/main" id="{AA8B3B65-AB4C-479F-A6F5-210DBDF017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67987" y="1983426"/>
            <a:ext cx="180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ase/Unit</a:t>
            </a:r>
          </a:p>
        </p:txBody>
      </p:sp>
      <p:sp>
        <p:nvSpPr>
          <p:cNvPr id="19" name="Content Placeholder">
            <a:extLst>
              <a:ext uri="{FF2B5EF4-FFF2-40B4-BE49-F238E27FC236}">
                <a16:creationId xmlns:a16="http://schemas.microsoft.com/office/drawing/2014/main" id="{04277EA4-F1AD-48F1-95E4-ECA54F8D5B0D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67987" y="2204191"/>
            <a:ext cx="3456000" cy="3961660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000"/>
              </a:spcAft>
              <a:buFontTx/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22" name="Redline">
            <a:extLst>
              <a:ext uri="{FF2B5EF4-FFF2-40B4-BE49-F238E27FC236}">
                <a16:creationId xmlns:a16="http://schemas.microsoft.com/office/drawing/2014/main" id="{AE6929EC-C681-497C-AA27-8A396B0C0AD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67987" y="1919076"/>
            <a:ext cx="3456000" cy="12700"/>
          </a:xfrm>
          <a:solidFill>
            <a:schemeClr val="tx2"/>
          </a:solidFill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5F40C582-19A9-4BDC-9BDB-E7F9E47297C5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07987" y="1450975"/>
            <a:ext cx="3456000" cy="4714875"/>
          </a:xfrm>
        </p:spPr>
        <p:txBody>
          <a:bodyPr lIns="0" tIns="0" rIns="0" bIns="0">
            <a:noAutofit/>
          </a:bodyPr>
          <a:lstStyle>
            <a:lvl1pPr marL="144000" indent="-144000">
              <a:lnSpc>
                <a:spcPct val="110000"/>
              </a:lnSpc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1440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32000" indent="-1440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aption">
            <a:extLst>
              <a:ext uri="{FF2B5EF4-FFF2-40B4-BE49-F238E27FC236}">
                <a16:creationId xmlns:a16="http://schemas.microsoft.com/office/drawing/2014/main" id="{97F263FE-EF12-45F5-A98D-1880934ADE4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27987" y="1460600"/>
            <a:ext cx="3456000" cy="468000"/>
          </a:xfrm>
        </p:spPr>
        <p:txBody>
          <a:bodyPr lIns="0" tIns="0" rIns="0" bIns="72000" anchor="b" anchorCtr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4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aption – 14pt – Arial – Bold – Dark Blue </a:t>
            </a:r>
          </a:p>
          <a:p>
            <a:pPr lvl="0"/>
            <a:r>
              <a:rPr lang="en-US"/>
              <a:t>– Maximum two lines</a:t>
            </a:r>
          </a:p>
        </p:txBody>
      </p:sp>
      <p:sp>
        <p:nvSpPr>
          <p:cNvPr id="13" name="Base">
            <a:extLst>
              <a:ext uri="{FF2B5EF4-FFF2-40B4-BE49-F238E27FC236}">
                <a16:creationId xmlns:a16="http://schemas.microsoft.com/office/drawing/2014/main" id="{B5EF49EF-0BE2-46BF-9A8B-6D5D4E37A38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27987" y="1983426"/>
            <a:ext cx="180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ase/Unit</a:t>
            </a:r>
          </a:p>
        </p:txBody>
      </p:sp>
      <p:sp>
        <p:nvSpPr>
          <p:cNvPr id="15" name="Content Placeholder">
            <a:extLst>
              <a:ext uri="{FF2B5EF4-FFF2-40B4-BE49-F238E27FC236}">
                <a16:creationId xmlns:a16="http://schemas.microsoft.com/office/drawing/2014/main" id="{4EF29DB3-C7AD-43A8-9AAA-055E5710E2F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8327987" y="2204191"/>
            <a:ext cx="3456000" cy="3961660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000"/>
              </a:spcAft>
              <a:buFontTx/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17" name="Redline">
            <a:extLst>
              <a:ext uri="{FF2B5EF4-FFF2-40B4-BE49-F238E27FC236}">
                <a16:creationId xmlns:a16="http://schemas.microsoft.com/office/drawing/2014/main" id="{4AB0DCA3-E011-48DE-B08B-8A2A835C960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27987" y="1919076"/>
            <a:ext cx="3456000" cy="12700"/>
          </a:xfrm>
          <a:solidFill>
            <a:schemeClr val="tx2"/>
          </a:solidFill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846870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066A117-9133-4BFD-85B8-5FA10495023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00500" y="0"/>
            <a:ext cx="8191500" cy="40767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73EBB05-C2B7-43DF-9D45-00491AD429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238126"/>
            <a:ext cx="3497262" cy="25536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Topic headline – Arial – 14pt – </a:t>
            </a:r>
            <a:r>
              <a:rPr lang="en-US" noProof="0" dirty="0" err="1"/>
              <a:t>Epinion</a:t>
            </a:r>
            <a:r>
              <a:rPr lang="en-US" noProof="0" dirty="0"/>
              <a:t> Red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AC71521-BF6D-4E18-8F4E-E2FB43D37B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8034" y="6459415"/>
            <a:ext cx="487362" cy="15240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92103799-4748-4C4F-A17A-6CEDBDE457E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896D570-576D-4DCE-B757-CAE101CA58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1D785A0-A6F2-46A8-92BF-85DC45FB67E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7513" y="4286250"/>
            <a:ext cx="3248025" cy="1924050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 here</a:t>
            </a:r>
          </a:p>
          <a:p>
            <a:pPr lvl="0"/>
            <a:endParaRPr lang="en-GB" dirty="0"/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C2B44D48-6049-4DA8-B067-CA45A8C45F0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00500" y="4286250"/>
            <a:ext cx="3248025" cy="1924050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 here</a:t>
            </a:r>
          </a:p>
          <a:p>
            <a:pPr lvl="0"/>
            <a:endParaRPr lang="en-GB" dirty="0"/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F085F696-58F7-45D9-8D8A-F7B08E1C339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583487" y="4286250"/>
            <a:ext cx="3248025" cy="1924050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 here</a:t>
            </a:r>
          </a:p>
          <a:p>
            <a:pPr lvl="0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039995-8FDE-4644-A620-C912E2278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685800"/>
            <a:ext cx="5746070" cy="2464584"/>
          </a:xfrm>
        </p:spPr>
        <p:txBody>
          <a:bodyPr anchor="t" anchorCtr="0"/>
          <a:lstStyle>
            <a:lvl1pPr>
              <a:defRPr sz="2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ction title – 22pt – Arial – Bold – Red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022921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Copenhagen End Pa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177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20013F67-C53A-4545-9061-E9408EE3C472}"/>
              </a:ext>
            </a:extLst>
          </p:cNvPr>
          <p:cNvSpPr/>
          <p:nvPr userDrawn="1"/>
        </p:nvSpPr>
        <p:spPr>
          <a:xfrm>
            <a:off x="10672763" y="6165850"/>
            <a:ext cx="1185862" cy="544513"/>
          </a:xfrm>
          <a:prstGeom prst="rect">
            <a:avLst/>
          </a:prstGeom>
          <a:solidFill>
            <a:srgbClr val="E13C3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DBB87BE-0799-44EE-8967-2229BC3EAA3E}"/>
              </a:ext>
            </a:extLst>
          </p:cNvPr>
          <p:cNvGrpSpPr/>
          <p:nvPr userDrawn="1"/>
        </p:nvGrpSpPr>
        <p:grpSpPr>
          <a:xfrm>
            <a:off x="10969479" y="6415983"/>
            <a:ext cx="814534" cy="257182"/>
            <a:chOff x="10969479" y="6415983"/>
            <a:chExt cx="814534" cy="257182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09630C9-2F59-4A9D-BDD1-A107EC02E516}"/>
                </a:ext>
              </a:extLst>
            </p:cNvPr>
            <p:cNvSpPr/>
            <p:nvPr userDrawn="1"/>
          </p:nvSpPr>
          <p:spPr>
            <a:xfrm>
              <a:off x="10969479" y="6415985"/>
              <a:ext cx="814533" cy="257180"/>
            </a:xfrm>
            <a:prstGeom prst="rect">
              <a:avLst/>
            </a:prstGeom>
            <a:solidFill>
              <a:srgbClr val="E13C3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6" name="Graphic 3">
              <a:extLst>
                <a:ext uri="{FF2B5EF4-FFF2-40B4-BE49-F238E27FC236}">
                  <a16:creationId xmlns:a16="http://schemas.microsoft.com/office/drawing/2014/main" id="{B405A87D-8E15-44FD-A9FE-DBD128F9E63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969479" y="6415983"/>
              <a:ext cx="814534" cy="257180"/>
            </a:xfrm>
            <a:prstGeom prst="rect">
              <a:avLst/>
            </a:prstGeom>
          </p:spPr>
        </p:pic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F84FCC81-2E70-4538-969B-8FF0F081DE72}"/>
              </a:ext>
            </a:extLst>
          </p:cNvPr>
          <p:cNvSpPr txBox="1"/>
          <p:nvPr userDrawn="1"/>
        </p:nvSpPr>
        <p:spPr>
          <a:xfrm>
            <a:off x="407988" y="2837584"/>
            <a:ext cx="600392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Epinion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 Copenhagen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BEF001B-B5B4-4693-89F9-FFFA5F48DCDC}"/>
              </a:ext>
            </a:extLst>
          </p:cNvPr>
          <p:cNvSpPr txBox="1"/>
          <p:nvPr userDrawn="1"/>
        </p:nvSpPr>
        <p:spPr>
          <a:xfrm>
            <a:off x="407988" y="3153247"/>
            <a:ext cx="6003925" cy="14560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51431" defTabSz="822710">
              <a:lnSpc>
                <a:spcPct val="114000"/>
              </a:lnSpc>
              <a:defRPr/>
            </a:pPr>
            <a:r>
              <a:rPr lang="de-DE" sz="1200" kern="0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Ryesgade 3F</a:t>
            </a:r>
          </a:p>
          <a:p>
            <a:pPr marR="51431" defTabSz="822710">
              <a:lnSpc>
                <a:spcPct val="114000"/>
              </a:lnSpc>
              <a:defRPr/>
            </a:pPr>
            <a:r>
              <a:rPr lang="de-DE" sz="1200" kern="0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2200 Copenhagen N  </a:t>
            </a:r>
          </a:p>
          <a:p>
            <a:pPr marR="51431" defTabSz="822710">
              <a:lnSpc>
                <a:spcPct val="114000"/>
              </a:lnSpc>
              <a:defRPr/>
            </a:pPr>
            <a:r>
              <a:rPr lang="de-DE" sz="1200" kern="0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Denmark</a:t>
            </a:r>
          </a:p>
          <a:p>
            <a:pPr marR="51431" defTabSz="822710">
              <a:lnSpc>
                <a:spcPct val="114000"/>
              </a:lnSpc>
              <a:defRPr/>
            </a:pPr>
            <a:r>
              <a:rPr lang="de-DE" sz="1200" kern="0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T: +45 87 30 95 00</a:t>
            </a:r>
          </a:p>
          <a:p>
            <a:pPr marR="51431" defTabSz="822710">
              <a:lnSpc>
                <a:spcPct val="114000"/>
              </a:lnSpc>
              <a:defRPr/>
            </a:pPr>
            <a:r>
              <a:rPr lang="de-DE" sz="1200" kern="0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E: copenhagen@epinionglobal.com</a:t>
            </a:r>
          </a:p>
          <a:p>
            <a:pPr marR="51431" defTabSz="822710">
              <a:lnSpc>
                <a:spcPct val="114000"/>
              </a:lnSpc>
              <a:defRPr/>
            </a:pPr>
            <a:r>
              <a:rPr lang="de-DE" sz="1200" kern="0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www.epinionglobal.com </a:t>
            </a:r>
          </a:p>
          <a:p>
            <a:pPr marR="51431" defTabSz="822710">
              <a:lnSpc>
                <a:spcPct val="114000"/>
              </a:lnSpc>
              <a:defRPr/>
            </a:pPr>
            <a:endParaRPr lang="de-DE" sz="1200" kern="0" dirty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14050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2 Copenhagen End Pa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3425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F84FCC81-2E70-4538-969B-8FF0F081DE72}"/>
              </a:ext>
            </a:extLst>
          </p:cNvPr>
          <p:cNvSpPr txBox="1"/>
          <p:nvPr userDrawn="1"/>
        </p:nvSpPr>
        <p:spPr>
          <a:xfrm>
            <a:off x="407988" y="2837584"/>
            <a:ext cx="600392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Epinion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 Copenhagen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BEF001B-B5B4-4693-89F9-FFFA5F48DCDC}"/>
              </a:ext>
            </a:extLst>
          </p:cNvPr>
          <p:cNvSpPr txBox="1"/>
          <p:nvPr userDrawn="1"/>
        </p:nvSpPr>
        <p:spPr>
          <a:xfrm>
            <a:off x="407988" y="3153247"/>
            <a:ext cx="6003925" cy="14560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51431" defTabSz="822710">
              <a:lnSpc>
                <a:spcPct val="114000"/>
              </a:lnSpc>
              <a:defRPr/>
            </a:pPr>
            <a:r>
              <a:rPr lang="de-DE" sz="1200" kern="0" dirty="0">
                <a:solidFill>
                  <a:schemeClr val="bg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Ryesgade 3F</a:t>
            </a:r>
          </a:p>
          <a:p>
            <a:pPr marR="51431" defTabSz="822710">
              <a:lnSpc>
                <a:spcPct val="114000"/>
              </a:lnSpc>
              <a:defRPr/>
            </a:pPr>
            <a:r>
              <a:rPr lang="de-DE" sz="1200" kern="0" dirty="0">
                <a:solidFill>
                  <a:schemeClr val="bg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2200 Copenhagen N  </a:t>
            </a:r>
          </a:p>
          <a:p>
            <a:pPr marR="51431" defTabSz="822710">
              <a:lnSpc>
                <a:spcPct val="114000"/>
              </a:lnSpc>
              <a:defRPr/>
            </a:pPr>
            <a:r>
              <a:rPr lang="de-DE" sz="1200" kern="0" dirty="0">
                <a:solidFill>
                  <a:schemeClr val="bg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Denmark</a:t>
            </a:r>
          </a:p>
          <a:p>
            <a:pPr marR="51431" defTabSz="822710">
              <a:lnSpc>
                <a:spcPct val="114000"/>
              </a:lnSpc>
              <a:defRPr/>
            </a:pPr>
            <a:r>
              <a:rPr lang="de-DE" sz="1200" kern="0" dirty="0">
                <a:solidFill>
                  <a:schemeClr val="bg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T: +45 87 30 95 00</a:t>
            </a:r>
          </a:p>
          <a:p>
            <a:pPr marR="51431" defTabSz="822710">
              <a:lnSpc>
                <a:spcPct val="114000"/>
              </a:lnSpc>
              <a:defRPr/>
            </a:pPr>
            <a:r>
              <a:rPr lang="de-DE" sz="1200" kern="0" dirty="0">
                <a:solidFill>
                  <a:schemeClr val="bg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E: copenhagen@epinionglobal.com</a:t>
            </a:r>
          </a:p>
          <a:p>
            <a:pPr marR="51431" defTabSz="822710">
              <a:lnSpc>
                <a:spcPct val="114000"/>
              </a:lnSpc>
              <a:defRPr/>
            </a:pPr>
            <a:r>
              <a:rPr lang="de-DE" sz="1200" kern="0" dirty="0">
                <a:solidFill>
                  <a:schemeClr val="bg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www.epinionglobal.com </a:t>
            </a:r>
          </a:p>
          <a:p>
            <a:pPr marR="51431" defTabSz="822710">
              <a:lnSpc>
                <a:spcPct val="114000"/>
              </a:lnSpc>
              <a:defRPr/>
            </a:pPr>
            <a:endParaRPr lang="de-DE" sz="1200" kern="0" dirty="0">
              <a:solidFill>
                <a:schemeClr val="bg2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A3E68BC-D69B-4359-844E-73FAEF6F9EC1}"/>
              </a:ext>
            </a:extLst>
          </p:cNvPr>
          <p:cNvSpPr/>
          <p:nvPr userDrawn="1"/>
        </p:nvSpPr>
        <p:spPr>
          <a:xfrm>
            <a:off x="10910888" y="6369844"/>
            <a:ext cx="933450" cy="3429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200" dirty="0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E3E3373-6449-4081-B6FF-07EA775FCBF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9480" y="6411353"/>
            <a:ext cx="814533" cy="25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77082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3 Aarhus 2 End Pa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3866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20013F67-C53A-4545-9061-E9408EE3C472}"/>
              </a:ext>
            </a:extLst>
          </p:cNvPr>
          <p:cNvSpPr/>
          <p:nvPr userDrawn="1"/>
        </p:nvSpPr>
        <p:spPr>
          <a:xfrm>
            <a:off x="10672763" y="6165850"/>
            <a:ext cx="1185862" cy="544513"/>
          </a:xfrm>
          <a:prstGeom prst="rect">
            <a:avLst/>
          </a:prstGeom>
          <a:solidFill>
            <a:srgbClr val="E13C3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DBB87BE-0799-44EE-8967-2229BC3EAA3E}"/>
              </a:ext>
            </a:extLst>
          </p:cNvPr>
          <p:cNvGrpSpPr/>
          <p:nvPr userDrawn="1"/>
        </p:nvGrpSpPr>
        <p:grpSpPr>
          <a:xfrm>
            <a:off x="10969479" y="6415983"/>
            <a:ext cx="814534" cy="257182"/>
            <a:chOff x="10969479" y="6415983"/>
            <a:chExt cx="814534" cy="257182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09630C9-2F59-4A9D-BDD1-A107EC02E516}"/>
                </a:ext>
              </a:extLst>
            </p:cNvPr>
            <p:cNvSpPr/>
            <p:nvPr userDrawn="1"/>
          </p:nvSpPr>
          <p:spPr>
            <a:xfrm>
              <a:off x="10969479" y="6415985"/>
              <a:ext cx="814533" cy="257180"/>
            </a:xfrm>
            <a:prstGeom prst="rect">
              <a:avLst/>
            </a:prstGeom>
            <a:solidFill>
              <a:srgbClr val="E13C3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6" name="Graphic 3">
              <a:extLst>
                <a:ext uri="{FF2B5EF4-FFF2-40B4-BE49-F238E27FC236}">
                  <a16:creationId xmlns:a16="http://schemas.microsoft.com/office/drawing/2014/main" id="{B405A87D-8E15-44FD-A9FE-DBD128F9E63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969479" y="6415983"/>
              <a:ext cx="814534" cy="257180"/>
            </a:xfrm>
            <a:prstGeom prst="rect">
              <a:avLst/>
            </a:prstGeom>
          </p:spPr>
        </p:pic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5CACAA72-F4D6-406D-8D71-C5ED345A824F}"/>
              </a:ext>
            </a:extLst>
          </p:cNvPr>
          <p:cNvSpPr txBox="1"/>
          <p:nvPr userDrawn="1"/>
        </p:nvSpPr>
        <p:spPr>
          <a:xfrm>
            <a:off x="407988" y="2837584"/>
            <a:ext cx="600392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Epinion Aarhu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74C224-C780-4B4F-848F-27B8D8E5880D}"/>
              </a:ext>
            </a:extLst>
          </p:cNvPr>
          <p:cNvSpPr txBox="1"/>
          <p:nvPr userDrawn="1"/>
        </p:nvSpPr>
        <p:spPr>
          <a:xfrm>
            <a:off x="407988" y="3153247"/>
            <a:ext cx="6003925" cy="12455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51431" defTabSz="822710">
              <a:lnSpc>
                <a:spcPct val="114000"/>
              </a:lnSpc>
              <a:defRPr/>
            </a:pPr>
            <a:r>
              <a:rPr lang="da-DK" sz="1200" kern="0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Fellow Workspace</a:t>
            </a:r>
          </a:p>
          <a:p>
            <a:pPr marR="51431" defTabSz="822710">
              <a:lnSpc>
                <a:spcPct val="114000"/>
              </a:lnSpc>
              <a:defRPr/>
            </a:pPr>
            <a:r>
              <a:rPr lang="da-DK" sz="1200" kern="0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Mariane Thomsens Gade 4B</a:t>
            </a:r>
          </a:p>
          <a:p>
            <a:pPr marR="51431" defTabSz="822710">
              <a:lnSpc>
                <a:spcPct val="114000"/>
              </a:lnSpc>
              <a:defRPr/>
            </a:pPr>
            <a:r>
              <a:rPr lang="da-DK" sz="1200" kern="0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8000 Aarhus</a:t>
            </a:r>
          </a:p>
          <a:p>
            <a:pPr marR="51431" defTabSz="822710">
              <a:lnSpc>
                <a:spcPct val="114000"/>
              </a:lnSpc>
              <a:defRPr/>
            </a:pPr>
            <a:r>
              <a:rPr lang="da-DK" sz="1200" kern="0" dirty="0">
                <a:solidFill>
                  <a:schemeClr val="tx1"/>
                </a:solidFill>
                <a:ea typeface="Calibri"/>
                <a:cs typeface="Times New Roman"/>
              </a:rPr>
              <a:t>Denmark</a:t>
            </a:r>
          </a:p>
          <a:p>
            <a:pPr marR="51431" defTabSz="822710">
              <a:lnSpc>
                <a:spcPct val="114000"/>
              </a:lnSpc>
              <a:defRPr/>
            </a:pPr>
            <a:r>
              <a:rPr lang="da-DK" sz="1200" kern="0" dirty="0">
                <a:solidFill>
                  <a:schemeClr val="tx1"/>
                </a:solidFill>
                <a:ea typeface="Calibri"/>
                <a:cs typeface="Times New Roman"/>
              </a:rPr>
              <a:t>T: +45 87 30 95 00</a:t>
            </a:r>
          </a:p>
          <a:p>
            <a:pPr marR="51431" defTabSz="822710">
              <a:lnSpc>
                <a:spcPct val="114000"/>
              </a:lnSpc>
              <a:defRPr/>
            </a:pPr>
            <a:r>
              <a:rPr lang="da-DK" sz="1200" kern="0" dirty="0">
                <a:solidFill>
                  <a:schemeClr val="tx1"/>
                </a:solidFill>
                <a:ea typeface="Calibri"/>
                <a:cs typeface="Times New Roman"/>
              </a:rPr>
              <a:t>E: aarhus@epinionglobal.com</a:t>
            </a:r>
          </a:p>
        </p:txBody>
      </p:sp>
    </p:spTree>
    <p:extLst>
      <p:ext uri="{BB962C8B-B14F-4D97-AF65-F5344CB8AC3E}">
        <p14:creationId xmlns:p14="http://schemas.microsoft.com/office/powerpoint/2010/main" val="31853612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C 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DA54ADA-FCB1-48A2-BE23-AD623CD481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10504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9" progId="TCLayout.ActiveDocument.1">
                  <p:embed/>
                </p:oleObj>
              </mc:Choice>
              <mc:Fallback>
                <p:oleObj name="think-cell Slide" r:id="rId3" imgW="378" imgH="37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DA54ADA-FCB1-48A2-BE23-AD623CD481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2039995-8FDE-4644-A620-C912E2278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7" y="1465532"/>
            <a:ext cx="4468813" cy="720197"/>
          </a:xfrm>
        </p:spPr>
        <p:txBody>
          <a:bodyPr anchor="t"/>
          <a:lstStyle>
            <a:lvl1pPr algn="l">
              <a:defRPr sz="54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ontent</a:t>
            </a:r>
            <a:endParaRPr lang="en-IN" dirty="0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62FBF95A-93A8-4B24-A015-04C069E366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14938" y="1465532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E220BE52-2562-4CD0-8061-8A1E73BA96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14938" y="1908616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BE8C29E-04DE-458C-87AB-AC9DE1825CE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14938" y="2351700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24BBB942-D0E0-4BB4-BFA4-94432AC99B0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14938" y="2794784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ECBB47F0-C5B9-47A9-A3BC-0BE363A791E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214938" y="3237868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815891FE-7A3B-4B0B-82FD-8B5FB151344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14938" y="3680952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DB720A88-6A60-4395-A92E-056E4FB73D3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214938" y="4124036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0F8A6769-94A8-44E9-A193-1212B6D1F30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238126"/>
            <a:ext cx="11376024" cy="25536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da-DK" dirty="0"/>
              <a:t>Click to edit Topic </a:t>
            </a:r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30EAE982-F615-4B62-8CF9-B7CC368B68C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214938" y="4567120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0D838C54-0D2B-4532-8988-1BC763AB9D9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214938" y="5010204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99A377E5-D9C0-44CD-962F-D97DB016BE2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214938" y="5453289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4E1B26F3-EEBC-4AF8-8D10-17FDF1968CD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853113" y="1465532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C1D24CEB-851D-44EF-A3A5-312121AD1A4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853113" y="1908616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8615EDE-F1C4-4242-A3A2-F434AAFE9F7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853113" y="2351700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F3C68748-FE1A-4FBB-9E72-CA14445F98B0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853113" y="2794784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0AAAB725-9791-47F2-9144-AAD3340C414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853113" y="3237868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5B1D2B40-3E79-4237-BF2D-B8B1DA79C0C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853113" y="3680952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CE9A9FD3-95F1-46A8-8EFC-325C2814845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853113" y="4124036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BDA99E9A-6D52-4BA2-B938-C878FA10E36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853113" y="4567120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E340B304-370E-48F2-906B-121E0E3C402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853113" y="5010204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B31AD09B-4E40-4401-A8DE-FB6DAF1741BF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853113" y="5453289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19B816FC-6750-4121-AF9E-31DD46D5ED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8034" y="6459415"/>
            <a:ext cx="487362" cy="15240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92103799-4748-4C4F-A17A-6CEDBDE457E7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3491057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4 Aarhus 2 End P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2827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5CACAA72-F4D6-406D-8D71-C5ED345A824F}"/>
              </a:ext>
            </a:extLst>
          </p:cNvPr>
          <p:cNvSpPr txBox="1"/>
          <p:nvPr userDrawn="1"/>
        </p:nvSpPr>
        <p:spPr>
          <a:xfrm>
            <a:off x="407988" y="2837584"/>
            <a:ext cx="600392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Epinion Aarhu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74C224-C780-4B4F-848F-27B8D8E5880D}"/>
              </a:ext>
            </a:extLst>
          </p:cNvPr>
          <p:cNvSpPr txBox="1"/>
          <p:nvPr userDrawn="1"/>
        </p:nvSpPr>
        <p:spPr>
          <a:xfrm>
            <a:off x="407988" y="3153247"/>
            <a:ext cx="6003925" cy="12455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51431" defTabSz="822710">
              <a:lnSpc>
                <a:spcPct val="114000"/>
              </a:lnSpc>
              <a:defRPr/>
            </a:pPr>
            <a:r>
              <a:rPr lang="da-DK" sz="1200" kern="0" dirty="0">
                <a:solidFill>
                  <a:schemeClr val="bg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Fellow Workspace</a:t>
            </a:r>
          </a:p>
          <a:p>
            <a:pPr marR="51431" defTabSz="822710">
              <a:lnSpc>
                <a:spcPct val="114000"/>
              </a:lnSpc>
              <a:defRPr/>
            </a:pPr>
            <a:r>
              <a:rPr lang="da-DK" sz="1200" kern="0" dirty="0">
                <a:solidFill>
                  <a:schemeClr val="bg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Mariane Thomsens Gade 4B</a:t>
            </a:r>
          </a:p>
          <a:p>
            <a:pPr marR="51431" defTabSz="822710">
              <a:lnSpc>
                <a:spcPct val="114000"/>
              </a:lnSpc>
              <a:defRPr/>
            </a:pPr>
            <a:r>
              <a:rPr lang="da-DK" sz="1200" kern="0" dirty="0">
                <a:solidFill>
                  <a:schemeClr val="bg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8000 Aarhus</a:t>
            </a:r>
          </a:p>
          <a:p>
            <a:pPr marR="51431" defTabSz="822710">
              <a:lnSpc>
                <a:spcPct val="114000"/>
              </a:lnSpc>
              <a:defRPr/>
            </a:pPr>
            <a:r>
              <a:rPr lang="da-DK" sz="1200" kern="0" dirty="0">
                <a:solidFill>
                  <a:schemeClr val="bg2"/>
                </a:solidFill>
                <a:ea typeface="Calibri"/>
                <a:cs typeface="Times New Roman"/>
              </a:rPr>
              <a:t>Denmark</a:t>
            </a:r>
          </a:p>
          <a:p>
            <a:pPr marR="51431" defTabSz="822710">
              <a:lnSpc>
                <a:spcPct val="114000"/>
              </a:lnSpc>
              <a:defRPr/>
            </a:pPr>
            <a:r>
              <a:rPr lang="da-DK" sz="1200" kern="0" dirty="0">
                <a:solidFill>
                  <a:schemeClr val="bg2"/>
                </a:solidFill>
                <a:ea typeface="Calibri"/>
                <a:cs typeface="Times New Roman"/>
              </a:rPr>
              <a:t>T: +45 87 30 95 00</a:t>
            </a:r>
          </a:p>
          <a:p>
            <a:pPr marR="51431" defTabSz="822710">
              <a:lnSpc>
                <a:spcPct val="114000"/>
              </a:lnSpc>
              <a:defRPr/>
            </a:pPr>
            <a:r>
              <a:rPr lang="da-DK" sz="1200" kern="0" dirty="0">
                <a:solidFill>
                  <a:schemeClr val="bg2"/>
                </a:solidFill>
                <a:ea typeface="Calibri"/>
                <a:cs typeface="Times New Roman"/>
              </a:rPr>
              <a:t>E: aarhus@epinionglobal.com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8F759C4D-B443-4A1A-A043-FE593CD5C14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9480" y="6411353"/>
            <a:ext cx="814533" cy="25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90110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C 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itle 1">
            <a:extLst>
              <a:ext uri="{FF2B5EF4-FFF2-40B4-BE49-F238E27FC236}">
                <a16:creationId xmlns:a16="http://schemas.microsoft.com/office/drawing/2014/main" id="{E5FD1BA2-E3AD-4C17-86E9-9F21B62530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7" y="1465532"/>
            <a:ext cx="4468813" cy="720197"/>
          </a:xfrm>
        </p:spPr>
        <p:txBody>
          <a:bodyPr anchor="t"/>
          <a:lstStyle>
            <a:lvl1pPr algn="l">
              <a:defRPr sz="54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enda</a:t>
            </a:r>
            <a:endParaRPr lang="en-IN" dirty="0"/>
          </a:p>
        </p:txBody>
      </p:sp>
      <p:sp>
        <p:nvSpPr>
          <p:cNvPr id="66" name="Text Placeholder 6">
            <a:extLst>
              <a:ext uri="{FF2B5EF4-FFF2-40B4-BE49-F238E27FC236}">
                <a16:creationId xmlns:a16="http://schemas.microsoft.com/office/drawing/2014/main" id="{C5FB038E-029B-4168-9B31-ACB6E383D8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238126"/>
            <a:ext cx="11376024" cy="25536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Click to edit Topic </a:t>
            </a:r>
            <a:endParaRPr lang="en-GB" dirty="0"/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F305B00A-898B-4C4F-B45F-4C7AC50E889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14938" y="1465532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F0BC0BBA-267A-4704-9E1E-AD4033664A3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14938" y="1908616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868D2F4C-3FD2-435A-BF89-03FBBA3B2B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14938" y="2351700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C7E2A5DF-6CC6-49EE-A806-28BFED67BB0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14938" y="2794784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1B209216-D91D-4F27-A7D0-9F466A3047C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214938" y="3237868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AB1CB83E-6D1A-4C50-A189-549262D4560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14938" y="3680952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8CCA61F-AD7C-4CE3-BE1F-A1890CF5CA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214938" y="4124036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0255A8FB-B34C-4F17-BE4D-43B361DF976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214938" y="4567120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55C943F3-A625-4ABE-82D8-51C14CB97D2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214938" y="5010204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11160DD5-7044-42C5-AE71-4B5E041BC04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214938" y="5453289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30E10C3D-D994-4856-9F81-4D0CD0A605E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853113" y="1465532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A80A8171-8C81-489D-A726-597C4CD96D6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853113" y="1908616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FF6CD507-D672-44E5-837B-153ED27F09E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853113" y="2351700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CD7C5AA6-76F7-49EB-B7E9-2375EEDC2CD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853113" y="2794784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9467F73C-7E92-4553-A2EE-F96B11F20A5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853113" y="3237868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C93495ED-5F67-4B90-AC48-DBD6033925A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853113" y="3680952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B2239926-CAE5-4E39-B569-508810D6A63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853113" y="4124036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D279787E-FC3C-468A-9617-D3FADA9F9C2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853113" y="4567120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B7C196A9-F9E7-415E-BC0C-8A78AC70B08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853113" y="5010204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D9F509B1-EF9C-49B1-A7FB-B8452E4901D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853113" y="5453289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49" name="Slide Number Placeholder 5">
            <a:extLst>
              <a:ext uri="{FF2B5EF4-FFF2-40B4-BE49-F238E27FC236}">
                <a16:creationId xmlns:a16="http://schemas.microsoft.com/office/drawing/2014/main" id="{9F2715D8-BBCE-4247-8AF0-7B669391FB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8034" y="6459415"/>
            <a:ext cx="487362" cy="15240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fld id="{92103799-4748-4C4F-A17A-6CEDBDE457E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0013F67-C53A-4545-9061-E9408EE3C472}"/>
              </a:ext>
            </a:extLst>
          </p:cNvPr>
          <p:cNvSpPr/>
          <p:nvPr userDrawn="1"/>
        </p:nvSpPr>
        <p:spPr>
          <a:xfrm>
            <a:off x="10672763" y="6165850"/>
            <a:ext cx="1185862" cy="5445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DBB87BE-0799-44EE-8967-2229BC3EAA3E}"/>
              </a:ext>
            </a:extLst>
          </p:cNvPr>
          <p:cNvGrpSpPr/>
          <p:nvPr userDrawn="1"/>
        </p:nvGrpSpPr>
        <p:grpSpPr>
          <a:xfrm>
            <a:off x="10969479" y="6415983"/>
            <a:ext cx="814534" cy="257182"/>
            <a:chOff x="10969479" y="6415983"/>
            <a:chExt cx="814534" cy="257182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09630C9-2F59-4A9D-BDD1-A107EC02E516}"/>
                </a:ext>
              </a:extLst>
            </p:cNvPr>
            <p:cNvSpPr/>
            <p:nvPr userDrawn="1"/>
          </p:nvSpPr>
          <p:spPr>
            <a:xfrm>
              <a:off x="10969479" y="6415985"/>
              <a:ext cx="814533" cy="25718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/>
            </a:p>
          </p:txBody>
        </p:sp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B405A87D-8E15-44FD-A9FE-DBD128F9E63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0969479" y="6415983"/>
              <a:ext cx="814534" cy="25718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642576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C M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B4D355A-1BBB-4A62-A7A0-134168E4F7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6070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8" progId="TCLayout.ActiveDocument.1">
                  <p:embed/>
                </p:oleObj>
              </mc:Choice>
              <mc:Fallback>
                <p:oleObj name="think-cell Slide" r:id="rId3" imgW="338" imgH="33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B4D355A-1BBB-4A62-A7A0-134168E4F7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Title 1">
            <a:extLst>
              <a:ext uri="{FF2B5EF4-FFF2-40B4-BE49-F238E27FC236}">
                <a16:creationId xmlns:a16="http://schemas.microsoft.com/office/drawing/2014/main" id="{E5FD1BA2-E3AD-4C17-86E9-9F21B62530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7" y="1465532"/>
            <a:ext cx="4468813" cy="1550937"/>
          </a:xfrm>
        </p:spPr>
        <p:txBody>
          <a:bodyPr anchor="t"/>
          <a:lstStyle>
            <a:lvl1pPr algn="l">
              <a:defRPr sz="54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Meeting</a:t>
            </a:r>
            <a:br>
              <a:rPr lang="en-US" dirty="0"/>
            </a:br>
            <a:r>
              <a:rPr lang="en-US" dirty="0"/>
              <a:t>Agenda</a:t>
            </a:r>
            <a:endParaRPr lang="en-IN" dirty="0"/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F305B00A-898B-4C4F-B45F-4C7AC50E889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14938" y="1465532"/>
            <a:ext cx="1217612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12:00 -13.00</a:t>
            </a:r>
            <a:endParaRPr lang="en-GB" dirty="0"/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30E10C3D-D994-4856-9F81-4D0CD0A605E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540500" y="1465532"/>
            <a:ext cx="5243512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err="1"/>
              <a:t>Topic</a:t>
            </a:r>
            <a:r>
              <a:rPr lang="da-DK" dirty="0"/>
              <a:t> </a:t>
            </a:r>
            <a:r>
              <a:rPr lang="da-DK" dirty="0" err="1"/>
              <a:t>number</a:t>
            </a:r>
            <a:r>
              <a:rPr lang="da-DK" dirty="0"/>
              <a:t> </a:t>
            </a:r>
            <a:r>
              <a:rPr lang="da-DK" dirty="0" err="1"/>
              <a:t>one</a:t>
            </a:r>
            <a:endParaRPr lang="da-DK" dirty="0"/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A80A8171-8C81-489D-A726-597C4CD96D6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540500" y="1750961"/>
            <a:ext cx="5243512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John </a:t>
            </a:r>
            <a:r>
              <a:rPr lang="da-DK" dirty="0" err="1"/>
              <a:t>Doe</a:t>
            </a:r>
            <a:endParaRPr lang="da-DK" dirty="0"/>
          </a:p>
        </p:txBody>
      </p:sp>
      <p:sp>
        <p:nvSpPr>
          <p:cNvPr id="49" name="Slide Number Placeholder 5">
            <a:extLst>
              <a:ext uri="{FF2B5EF4-FFF2-40B4-BE49-F238E27FC236}">
                <a16:creationId xmlns:a16="http://schemas.microsoft.com/office/drawing/2014/main" id="{9F2715D8-BBCE-4247-8AF0-7B669391FB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8034" y="6459415"/>
            <a:ext cx="487362" cy="15240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fld id="{92103799-4748-4C4F-A17A-6CEDBDE457E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0013F67-C53A-4545-9061-E9408EE3C472}"/>
              </a:ext>
            </a:extLst>
          </p:cNvPr>
          <p:cNvSpPr/>
          <p:nvPr userDrawn="1"/>
        </p:nvSpPr>
        <p:spPr>
          <a:xfrm>
            <a:off x="10672763" y="6165850"/>
            <a:ext cx="1185862" cy="5445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DBB87BE-0799-44EE-8967-2229BC3EAA3E}"/>
              </a:ext>
            </a:extLst>
          </p:cNvPr>
          <p:cNvGrpSpPr/>
          <p:nvPr userDrawn="1"/>
        </p:nvGrpSpPr>
        <p:grpSpPr>
          <a:xfrm>
            <a:off x="10969479" y="6415983"/>
            <a:ext cx="814534" cy="257182"/>
            <a:chOff x="10969479" y="6415983"/>
            <a:chExt cx="814534" cy="257182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09630C9-2F59-4A9D-BDD1-A107EC02E516}"/>
                </a:ext>
              </a:extLst>
            </p:cNvPr>
            <p:cNvSpPr/>
            <p:nvPr userDrawn="1"/>
          </p:nvSpPr>
          <p:spPr>
            <a:xfrm>
              <a:off x="10969479" y="6415985"/>
              <a:ext cx="814533" cy="25718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/>
            </a:p>
          </p:txBody>
        </p:sp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B405A87D-8E15-44FD-A9FE-DBD128F9E63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969479" y="6415983"/>
              <a:ext cx="814534" cy="257180"/>
            </a:xfrm>
            <a:prstGeom prst="rect">
              <a:avLst/>
            </a:prstGeom>
          </p:spPr>
        </p:pic>
      </p:grp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043DF886-32CC-40D6-8503-40E6D78DA68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214938" y="2128472"/>
            <a:ext cx="1217612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12:00 -13.00</a:t>
            </a:r>
            <a:endParaRPr lang="en-GB" dirty="0"/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C08DE867-537D-4133-A024-20CC75166A5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540500" y="2128472"/>
            <a:ext cx="5243512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err="1"/>
              <a:t>Topic</a:t>
            </a:r>
            <a:r>
              <a:rPr lang="da-DK" dirty="0"/>
              <a:t> </a:t>
            </a:r>
            <a:r>
              <a:rPr lang="da-DK" dirty="0" err="1"/>
              <a:t>number</a:t>
            </a:r>
            <a:r>
              <a:rPr lang="da-DK" dirty="0"/>
              <a:t> </a:t>
            </a:r>
            <a:r>
              <a:rPr lang="da-DK" dirty="0" err="1"/>
              <a:t>one</a:t>
            </a:r>
            <a:endParaRPr lang="da-DK" dirty="0"/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29FB31ED-A1E4-49D2-80CA-58A62FA20C9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540500" y="2413901"/>
            <a:ext cx="5243512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John </a:t>
            </a:r>
            <a:r>
              <a:rPr lang="da-DK" dirty="0" err="1"/>
              <a:t>Doe</a:t>
            </a:r>
            <a:endParaRPr lang="da-DK" dirty="0"/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7F33D839-25A1-455B-95CD-2999AB40462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214938" y="2783792"/>
            <a:ext cx="1217612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12:00 -13.00</a:t>
            </a:r>
            <a:endParaRPr lang="en-GB" dirty="0"/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D7F6B28D-CB3B-4333-AA8A-3B90691F51C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540500" y="2783792"/>
            <a:ext cx="5243512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err="1"/>
              <a:t>Topic</a:t>
            </a:r>
            <a:r>
              <a:rPr lang="da-DK" dirty="0"/>
              <a:t> </a:t>
            </a:r>
            <a:r>
              <a:rPr lang="da-DK" dirty="0" err="1"/>
              <a:t>number</a:t>
            </a:r>
            <a:r>
              <a:rPr lang="da-DK" dirty="0"/>
              <a:t> </a:t>
            </a:r>
            <a:r>
              <a:rPr lang="da-DK" dirty="0" err="1"/>
              <a:t>one</a:t>
            </a:r>
            <a:endParaRPr lang="da-DK" dirty="0"/>
          </a:p>
        </p:txBody>
      </p:sp>
      <p:sp>
        <p:nvSpPr>
          <p:cNvPr id="56" name="Text Placeholder 6">
            <a:extLst>
              <a:ext uri="{FF2B5EF4-FFF2-40B4-BE49-F238E27FC236}">
                <a16:creationId xmlns:a16="http://schemas.microsoft.com/office/drawing/2014/main" id="{85E10577-5D96-46A7-BB65-E32409621AE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540500" y="3069221"/>
            <a:ext cx="5243512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John </a:t>
            </a:r>
            <a:r>
              <a:rPr lang="da-DK" dirty="0" err="1"/>
              <a:t>Doe</a:t>
            </a:r>
            <a:endParaRPr lang="da-DK" dirty="0"/>
          </a:p>
        </p:txBody>
      </p:sp>
      <p:sp>
        <p:nvSpPr>
          <p:cNvPr id="57" name="Text Placeholder 6">
            <a:extLst>
              <a:ext uri="{FF2B5EF4-FFF2-40B4-BE49-F238E27FC236}">
                <a16:creationId xmlns:a16="http://schemas.microsoft.com/office/drawing/2014/main" id="{08AD882C-8D12-4D56-AF2E-0F833B4F1A7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214938" y="3454352"/>
            <a:ext cx="1217612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12:00 -13.00</a:t>
            </a:r>
            <a:endParaRPr lang="en-GB" dirty="0"/>
          </a:p>
        </p:txBody>
      </p:sp>
      <p:sp>
        <p:nvSpPr>
          <p:cNvPr id="58" name="Text Placeholder 6">
            <a:extLst>
              <a:ext uri="{FF2B5EF4-FFF2-40B4-BE49-F238E27FC236}">
                <a16:creationId xmlns:a16="http://schemas.microsoft.com/office/drawing/2014/main" id="{D9ADFFB2-CDD2-493E-8B7E-F22E540C788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540500" y="3454352"/>
            <a:ext cx="5243512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err="1"/>
              <a:t>Topic</a:t>
            </a:r>
            <a:r>
              <a:rPr lang="da-DK" dirty="0"/>
              <a:t> </a:t>
            </a:r>
            <a:r>
              <a:rPr lang="da-DK" dirty="0" err="1"/>
              <a:t>number</a:t>
            </a:r>
            <a:r>
              <a:rPr lang="da-DK" dirty="0"/>
              <a:t> </a:t>
            </a:r>
            <a:r>
              <a:rPr lang="da-DK" dirty="0" err="1"/>
              <a:t>one</a:t>
            </a:r>
            <a:endParaRPr lang="da-DK" dirty="0"/>
          </a:p>
        </p:txBody>
      </p:sp>
      <p:sp>
        <p:nvSpPr>
          <p:cNvPr id="59" name="Text Placeholder 6">
            <a:extLst>
              <a:ext uri="{FF2B5EF4-FFF2-40B4-BE49-F238E27FC236}">
                <a16:creationId xmlns:a16="http://schemas.microsoft.com/office/drawing/2014/main" id="{488CDAB5-7FC0-4500-A3AC-98C2D904359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540500" y="3739781"/>
            <a:ext cx="5243512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John </a:t>
            </a:r>
            <a:r>
              <a:rPr lang="da-DK" dirty="0" err="1"/>
              <a:t>Doe</a:t>
            </a:r>
            <a:endParaRPr lang="da-DK" dirty="0"/>
          </a:p>
        </p:txBody>
      </p:sp>
      <p:sp>
        <p:nvSpPr>
          <p:cNvPr id="60" name="Text Placeholder 6">
            <a:extLst>
              <a:ext uri="{FF2B5EF4-FFF2-40B4-BE49-F238E27FC236}">
                <a16:creationId xmlns:a16="http://schemas.microsoft.com/office/drawing/2014/main" id="{DA74EABD-2641-421E-819D-819677D11D66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214938" y="4140152"/>
            <a:ext cx="1217612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12:00 -13.00</a:t>
            </a:r>
            <a:endParaRPr lang="en-GB" dirty="0"/>
          </a:p>
        </p:txBody>
      </p:sp>
      <p:sp>
        <p:nvSpPr>
          <p:cNvPr id="61" name="Text Placeholder 6">
            <a:extLst>
              <a:ext uri="{FF2B5EF4-FFF2-40B4-BE49-F238E27FC236}">
                <a16:creationId xmlns:a16="http://schemas.microsoft.com/office/drawing/2014/main" id="{0EA8ABFE-F636-46DE-96C5-39F2EEA8CC0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540500" y="4140152"/>
            <a:ext cx="5243512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err="1"/>
              <a:t>Topic</a:t>
            </a:r>
            <a:r>
              <a:rPr lang="da-DK" dirty="0"/>
              <a:t> </a:t>
            </a:r>
            <a:r>
              <a:rPr lang="da-DK" dirty="0" err="1"/>
              <a:t>number</a:t>
            </a:r>
            <a:r>
              <a:rPr lang="da-DK" dirty="0"/>
              <a:t> </a:t>
            </a:r>
            <a:r>
              <a:rPr lang="da-DK" dirty="0" err="1"/>
              <a:t>one</a:t>
            </a:r>
            <a:endParaRPr lang="da-DK" dirty="0"/>
          </a:p>
        </p:txBody>
      </p:sp>
      <p:sp>
        <p:nvSpPr>
          <p:cNvPr id="62" name="Text Placeholder 6">
            <a:extLst>
              <a:ext uri="{FF2B5EF4-FFF2-40B4-BE49-F238E27FC236}">
                <a16:creationId xmlns:a16="http://schemas.microsoft.com/office/drawing/2014/main" id="{A30BF897-6833-408D-B036-EDF752298237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540500" y="4425581"/>
            <a:ext cx="5243512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John </a:t>
            </a:r>
            <a:r>
              <a:rPr lang="da-DK" dirty="0" err="1"/>
              <a:t>Doe</a:t>
            </a:r>
            <a:endParaRPr lang="da-DK" dirty="0"/>
          </a:p>
        </p:txBody>
      </p:sp>
      <p:sp>
        <p:nvSpPr>
          <p:cNvPr id="63" name="Text Placeholder 6">
            <a:extLst>
              <a:ext uri="{FF2B5EF4-FFF2-40B4-BE49-F238E27FC236}">
                <a16:creationId xmlns:a16="http://schemas.microsoft.com/office/drawing/2014/main" id="{E1452A93-9ADD-4388-B07A-A356B7898F3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214938" y="4825952"/>
            <a:ext cx="1217612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12:00 -13.00</a:t>
            </a:r>
            <a:endParaRPr lang="en-GB" dirty="0"/>
          </a:p>
        </p:txBody>
      </p:sp>
      <p:sp>
        <p:nvSpPr>
          <p:cNvPr id="64" name="Text Placeholder 6">
            <a:extLst>
              <a:ext uri="{FF2B5EF4-FFF2-40B4-BE49-F238E27FC236}">
                <a16:creationId xmlns:a16="http://schemas.microsoft.com/office/drawing/2014/main" id="{1654D6B1-FB65-495A-BB5D-A1FE9F83E13E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540500" y="4825952"/>
            <a:ext cx="5243512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err="1"/>
              <a:t>Topic</a:t>
            </a:r>
            <a:r>
              <a:rPr lang="da-DK" dirty="0"/>
              <a:t> </a:t>
            </a:r>
            <a:r>
              <a:rPr lang="da-DK" dirty="0" err="1"/>
              <a:t>number</a:t>
            </a:r>
            <a:r>
              <a:rPr lang="da-DK" dirty="0"/>
              <a:t> </a:t>
            </a:r>
            <a:r>
              <a:rPr lang="da-DK" dirty="0" err="1"/>
              <a:t>one</a:t>
            </a:r>
            <a:endParaRPr lang="da-DK" dirty="0"/>
          </a:p>
        </p:txBody>
      </p:sp>
      <p:sp>
        <p:nvSpPr>
          <p:cNvPr id="65" name="Text Placeholder 6">
            <a:extLst>
              <a:ext uri="{FF2B5EF4-FFF2-40B4-BE49-F238E27FC236}">
                <a16:creationId xmlns:a16="http://schemas.microsoft.com/office/drawing/2014/main" id="{73E3723A-BDD6-4180-9DC7-B07EAB021A3E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540500" y="5111381"/>
            <a:ext cx="5243512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John </a:t>
            </a:r>
            <a:r>
              <a:rPr lang="da-DK" dirty="0" err="1"/>
              <a:t>Doe</a:t>
            </a:r>
            <a:endParaRPr lang="da-DK" dirty="0"/>
          </a:p>
        </p:txBody>
      </p:sp>
      <p:sp>
        <p:nvSpPr>
          <p:cNvPr id="67" name="Text Placeholder 6">
            <a:extLst>
              <a:ext uri="{FF2B5EF4-FFF2-40B4-BE49-F238E27FC236}">
                <a16:creationId xmlns:a16="http://schemas.microsoft.com/office/drawing/2014/main" id="{C7E042BD-94E5-453C-B57C-4BA94CDB4127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214938" y="5511752"/>
            <a:ext cx="1217612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12:00 -13.00</a:t>
            </a:r>
            <a:endParaRPr lang="en-GB" dirty="0"/>
          </a:p>
        </p:txBody>
      </p:sp>
      <p:sp>
        <p:nvSpPr>
          <p:cNvPr id="68" name="Text Placeholder 6">
            <a:extLst>
              <a:ext uri="{FF2B5EF4-FFF2-40B4-BE49-F238E27FC236}">
                <a16:creationId xmlns:a16="http://schemas.microsoft.com/office/drawing/2014/main" id="{FBED8272-9CE9-482E-9523-84207BDD523E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540500" y="5511752"/>
            <a:ext cx="5243512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err="1"/>
              <a:t>Topic</a:t>
            </a:r>
            <a:r>
              <a:rPr lang="da-DK" dirty="0"/>
              <a:t> </a:t>
            </a:r>
            <a:r>
              <a:rPr lang="da-DK" dirty="0" err="1"/>
              <a:t>number</a:t>
            </a:r>
            <a:r>
              <a:rPr lang="da-DK" dirty="0"/>
              <a:t> </a:t>
            </a:r>
            <a:r>
              <a:rPr lang="da-DK" dirty="0" err="1"/>
              <a:t>one</a:t>
            </a:r>
            <a:endParaRPr lang="da-DK" dirty="0"/>
          </a:p>
        </p:txBody>
      </p:sp>
      <p:sp>
        <p:nvSpPr>
          <p:cNvPr id="69" name="Text Placeholder 6">
            <a:extLst>
              <a:ext uri="{FF2B5EF4-FFF2-40B4-BE49-F238E27FC236}">
                <a16:creationId xmlns:a16="http://schemas.microsoft.com/office/drawing/2014/main" id="{95860DC7-CEAC-4CD2-ACBC-F0FB87F127EF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540500" y="5797181"/>
            <a:ext cx="5243512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John </a:t>
            </a:r>
            <a:r>
              <a:rPr lang="da-DK" dirty="0" err="1"/>
              <a:t>Do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467770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A6296DE5-DAF1-4B80-B326-C8BCAC25F4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1307041"/>
            <a:ext cx="7200000" cy="1512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5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73E5EEF-A2A0-4612-BB7A-D302EAE434B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4813" y="3008841"/>
            <a:ext cx="4679950" cy="719138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400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Optional - Summarize the coming section here in a short paragraph to give the audiences a sneak preview of the contents</a:t>
            </a:r>
          </a:p>
        </p:txBody>
      </p:sp>
    </p:spTree>
    <p:extLst>
      <p:ext uri="{BB962C8B-B14F-4D97-AF65-F5344CB8AC3E}">
        <p14:creationId xmlns:p14="http://schemas.microsoft.com/office/powerpoint/2010/main" val="3634242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039995-8FDE-4644-A620-C912E2278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7" y="481816"/>
            <a:ext cx="11376025" cy="643599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dirty="0"/>
              <a:t>Action title – 22pt – Arial – Bold – Dark Blue</a:t>
            </a:r>
            <a:br>
              <a:rPr lang="en-US" dirty="0"/>
            </a:br>
            <a:r>
              <a:rPr lang="en-US" dirty="0"/>
              <a:t>Maximum two lines</a:t>
            </a:r>
            <a:endParaRPr lang="en-IN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73EBB05-C2B7-43DF-9D45-00491AD429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238126"/>
            <a:ext cx="11376024" cy="25536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Topic headline – Arial – 14pt – </a:t>
            </a:r>
            <a:r>
              <a:rPr lang="en-US" noProof="0" dirty="0" err="1"/>
              <a:t>Epinion</a:t>
            </a:r>
            <a:r>
              <a:rPr lang="en-US" noProof="0" dirty="0"/>
              <a:t> Red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AC71521-BF6D-4E18-8F4E-E2FB43D37B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8034" y="6459415"/>
            <a:ext cx="487362" cy="15240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92103799-4748-4C4F-A17A-6CEDBDE457E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896D570-576D-4DCE-B757-CAE101CA58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23A41AF-6E06-478C-A822-13971F58F1B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07988" y="1450975"/>
            <a:ext cx="11376025" cy="4714875"/>
          </a:xfrm>
        </p:spPr>
        <p:txBody>
          <a:bodyPr lIns="0" tIns="0" rIns="0" bIns="0">
            <a:noAutofit/>
          </a:bodyPr>
          <a:lstStyle>
            <a:lvl1pPr marL="144000" indent="-14400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1440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32000" indent="-1440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146182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1 Content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273EBB05-C2B7-43DF-9D45-00491AD429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7" y="238126"/>
            <a:ext cx="11376000" cy="25536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Topic headline – Arial – 14pt – </a:t>
            </a:r>
            <a:r>
              <a:rPr lang="en-US" noProof="0" dirty="0" err="1"/>
              <a:t>Epinion</a:t>
            </a:r>
            <a:r>
              <a:rPr lang="en-US" noProof="0" dirty="0"/>
              <a:t> Red</a:t>
            </a:r>
          </a:p>
        </p:txBody>
      </p:sp>
      <p:sp>
        <p:nvSpPr>
          <p:cNvPr id="2" name="Sub Title">
            <a:extLst>
              <a:ext uri="{FF2B5EF4-FFF2-40B4-BE49-F238E27FC236}">
                <a16:creationId xmlns:a16="http://schemas.microsoft.com/office/drawing/2014/main" id="{82039995-8FDE-4644-A620-C912E2278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7" y="481816"/>
            <a:ext cx="11376000" cy="643599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dirty="0"/>
              <a:t>Action title – 22pt – Arial – Bold – Dark Blue</a:t>
            </a:r>
            <a:br>
              <a:rPr lang="en-US" dirty="0"/>
            </a:br>
            <a:r>
              <a:rPr lang="en-US" dirty="0"/>
              <a:t>Maximum two lines</a:t>
            </a:r>
            <a:endParaRPr lang="en-IN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AC71521-BF6D-4E18-8F4E-E2FB43D37B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8034" y="6459415"/>
            <a:ext cx="487362" cy="15240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92103799-4748-4C4F-A17A-6CEDBDE457E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1896D570-576D-4DCE-B757-CAE101CA58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14" name="Caption">
            <a:extLst>
              <a:ext uri="{FF2B5EF4-FFF2-40B4-BE49-F238E27FC236}">
                <a16:creationId xmlns:a16="http://schemas.microsoft.com/office/drawing/2014/main" id="{B648FAD8-098B-491D-ACB7-2363F92830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7" y="1459442"/>
            <a:ext cx="11376000" cy="252000"/>
          </a:xfrm>
        </p:spPr>
        <p:txBody>
          <a:bodyPr lIns="0" tIns="0" rIns="0" bIns="72000" anchor="b" anchorCtr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4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Caption – 14pt – Arial – Bold – Dark Blue – 1 line</a:t>
            </a:r>
          </a:p>
        </p:txBody>
      </p:sp>
      <p:sp>
        <p:nvSpPr>
          <p:cNvPr id="16" name="Base">
            <a:extLst>
              <a:ext uri="{FF2B5EF4-FFF2-40B4-BE49-F238E27FC236}">
                <a16:creationId xmlns:a16="http://schemas.microsoft.com/office/drawing/2014/main" id="{AA8B3B65-AB4C-479F-A6F5-210DBDF017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7" y="1766268"/>
            <a:ext cx="180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ase/Unit</a:t>
            </a:r>
          </a:p>
        </p:txBody>
      </p:sp>
      <p:sp>
        <p:nvSpPr>
          <p:cNvPr id="19" name="Content Placeholder">
            <a:extLst>
              <a:ext uri="{FF2B5EF4-FFF2-40B4-BE49-F238E27FC236}">
                <a16:creationId xmlns:a16="http://schemas.microsoft.com/office/drawing/2014/main" id="{04277EA4-F1AD-48F1-95E4-ECA54F8D5B0D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07987" y="1987032"/>
            <a:ext cx="11376000" cy="4178817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000"/>
              </a:spcAft>
              <a:buFontTx/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22" name="Redline">
            <a:extLst>
              <a:ext uri="{FF2B5EF4-FFF2-40B4-BE49-F238E27FC236}">
                <a16:creationId xmlns:a16="http://schemas.microsoft.com/office/drawing/2014/main" id="{AE6929EC-C681-497C-AA27-8A396B0C0AD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07987" y="1701918"/>
            <a:ext cx="11376000" cy="12700"/>
          </a:xfrm>
          <a:solidFill>
            <a:schemeClr val="tx2"/>
          </a:solidFill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223498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1 Content Placehol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273EBB05-C2B7-43DF-9D45-00491AD429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7" y="238126"/>
            <a:ext cx="11376000" cy="25536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Topic headline – Arial – 14pt – </a:t>
            </a:r>
            <a:r>
              <a:rPr lang="en-US" noProof="0" dirty="0" err="1"/>
              <a:t>Epinion</a:t>
            </a:r>
            <a:r>
              <a:rPr lang="en-US" noProof="0" dirty="0"/>
              <a:t> Red</a:t>
            </a:r>
          </a:p>
        </p:txBody>
      </p:sp>
      <p:sp>
        <p:nvSpPr>
          <p:cNvPr id="2" name="Sub Title">
            <a:extLst>
              <a:ext uri="{FF2B5EF4-FFF2-40B4-BE49-F238E27FC236}">
                <a16:creationId xmlns:a16="http://schemas.microsoft.com/office/drawing/2014/main" id="{82039995-8FDE-4644-A620-C912E2278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7" y="481816"/>
            <a:ext cx="11376000" cy="643599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dirty="0"/>
              <a:t>Action title – 22pt – Arial – Bold – Dark Blue</a:t>
            </a:r>
            <a:br>
              <a:rPr lang="en-US" dirty="0"/>
            </a:br>
            <a:r>
              <a:rPr lang="en-US" dirty="0"/>
              <a:t>Maximum two lines</a:t>
            </a:r>
            <a:endParaRPr lang="en-IN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AC71521-BF6D-4E18-8F4E-E2FB43D37B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8034" y="6459415"/>
            <a:ext cx="487362" cy="15240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92103799-4748-4C4F-A17A-6CEDBDE457E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1896D570-576D-4DCE-B757-CAE101CA58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14" name="Caption">
            <a:extLst>
              <a:ext uri="{FF2B5EF4-FFF2-40B4-BE49-F238E27FC236}">
                <a16:creationId xmlns:a16="http://schemas.microsoft.com/office/drawing/2014/main" id="{B648FAD8-098B-491D-ACB7-2363F92830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7" y="1460600"/>
            <a:ext cx="11376000" cy="468000"/>
          </a:xfrm>
        </p:spPr>
        <p:txBody>
          <a:bodyPr lIns="0" tIns="0" rIns="0" bIns="72000" anchor="b" anchorCtr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4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aption – 14pt – Arial – Bold – Dark Blue </a:t>
            </a:r>
          </a:p>
          <a:p>
            <a:pPr lvl="0"/>
            <a:r>
              <a:rPr lang="en-US"/>
              <a:t>– Maximum two lines</a:t>
            </a:r>
          </a:p>
        </p:txBody>
      </p:sp>
      <p:sp>
        <p:nvSpPr>
          <p:cNvPr id="16" name="Base">
            <a:extLst>
              <a:ext uri="{FF2B5EF4-FFF2-40B4-BE49-F238E27FC236}">
                <a16:creationId xmlns:a16="http://schemas.microsoft.com/office/drawing/2014/main" id="{AA8B3B65-AB4C-479F-A6F5-210DBDF017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7" y="1983426"/>
            <a:ext cx="180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ase/Unit</a:t>
            </a:r>
          </a:p>
        </p:txBody>
      </p:sp>
      <p:sp>
        <p:nvSpPr>
          <p:cNvPr id="19" name="Content Placeholder">
            <a:extLst>
              <a:ext uri="{FF2B5EF4-FFF2-40B4-BE49-F238E27FC236}">
                <a16:creationId xmlns:a16="http://schemas.microsoft.com/office/drawing/2014/main" id="{04277EA4-F1AD-48F1-95E4-ECA54F8D5B0D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07987" y="2204191"/>
            <a:ext cx="11376000" cy="3961660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000"/>
              </a:spcAft>
              <a:buFontTx/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22" name="Redline">
            <a:extLst>
              <a:ext uri="{FF2B5EF4-FFF2-40B4-BE49-F238E27FC236}">
                <a16:creationId xmlns:a16="http://schemas.microsoft.com/office/drawing/2014/main" id="{AE6929EC-C681-497C-AA27-8A396B0C0AD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07987" y="1919076"/>
            <a:ext cx="11376000" cy="12700"/>
          </a:xfrm>
          <a:solidFill>
            <a:schemeClr val="tx2"/>
          </a:solidFill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83936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2 Content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273EBB05-C2B7-43DF-9D45-00491AD429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7" y="238126"/>
            <a:ext cx="11376000" cy="25536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Topic headline – Arial – 14pt – </a:t>
            </a:r>
            <a:r>
              <a:rPr lang="en-US" noProof="0" dirty="0" err="1"/>
              <a:t>Epinion</a:t>
            </a:r>
            <a:r>
              <a:rPr lang="en-US" noProof="0" dirty="0"/>
              <a:t> Red</a:t>
            </a:r>
          </a:p>
        </p:txBody>
      </p:sp>
      <p:sp>
        <p:nvSpPr>
          <p:cNvPr id="2" name="Sub Title">
            <a:extLst>
              <a:ext uri="{FF2B5EF4-FFF2-40B4-BE49-F238E27FC236}">
                <a16:creationId xmlns:a16="http://schemas.microsoft.com/office/drawing/2014/main" id="{82039995-8FDE-4644-A620-C912E2278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7" y="481816"/>
            <a:ext cx="11376000" cy="643599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dirty="0"/>
              <a:t>Action title – 22pt – Arial – Bold – Dark Blue</a:t>
            </a:r>
            <a:br>
              <a:rPr lang="en-US" dirty="0"/>
            </a:br>
            <a:r>
              <a:rPr lang="en-US" dirty="0"/>
              <a:t>Maximum two lines</a:t>
            </a:r>
            <a:endParaRPr lang="en-IN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AC71521-BF6D-4E18-8F4E-E2FB43D37B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8034" y="6459415"/>
            <a:ext cx="487362" cy="15240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92103799-4748-4C4F-A17A-6CEDBDE457E7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1896D570-576D-4DCE-B757-CAE101CA58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14" name="Caption">
            <a:extLst>
              <a:ext uri="{FF2B5EF4-FFF2-40B4-BE49-F238E27FC236}">
                <a16:creationId xmlns:a16="http://schemas.microsoft.com/office/drawing/2014/main" id="{B648FAD8-098B-491D-ACB7-2363F92830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7" y="1460600"/>
            <a:ext cx="5436000" cy="468000"/>
          </a:xfrm>
        </p:spPr>
        <p:txBody>
          <a:bodyPr lIns="0" tIns="0" rIns="0" bIns="72000" anchor="b" anchorCtr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4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aption – 14pt – Arial – Bold – Dark Blue </a:t>
            </a:r>
          </a:p>
          <a:p>
            <a:pPr lvl="0"/>
            <a:r>
              <a:rPr lang="en-US"/>
              <a:t>– Maximum two lines</a:t>
            </a:r>
          </a:p>
        </p:txBody>
      </p:sp>
      <p:sp>
        <p:nvSpPr>
          <p:cNvPr id="16" name="Base">
            <a:extLst>
              <a:ext uri="{FF2B5EF4-FFF2-40B4-BE49-F238E27FC236}">
                <a16:creationId xmlns:a16="http://schemas.microsoft.com/office/drawing/2014/main" id="{AA8B3B65-AB4C-479F-A6F5-210DBDF017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7" y="1983426"/>
            <a:ext cx="180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ase/Unit</a:t>
            </a:r>
          </a:p>
        </p:txBody>
      </p:sp>
      <p:sp>
        <p:nvSpPr>
          <p:cNvPr id="19" name="Content Placeholder">
            <a:extLst>
              <a:ext uri="{FF2B5EF4-FFF2-40B4-BE49-F238E27FC236}">
                <a16:creationId xmlns:a16="http://schemas.microsoft.com/office/drawing/2014/main" id="{04277EA4-F1AD-48F1-95E4-ECA54F8D5B0D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07987" y="2204191"/>
            <a:ext cx="5436000" cy="3961660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000"/>
              </a:spcAft>
              <a:buFontTx/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22" name="Redline">
            <a:extLst>
              <a:ext uri="{FF2B5EF4-FFF2-40B4-BE49-F238E27FC236}">
                <a16:creationId xmlns:a16="http://schemas.microsoft.com/office/drawing/2014/main" id="{AE6929EC-C681-497C-AA27-8A396B0C0AD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07987" y="1919076"/>
            <a:ext cx="5436000" cy="12700"/>
          </a:xfrm>
          <a:solidFill>
            <a:schemeClr val="tx2"/>
          </a:solidFill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aption">
            <a:extLst>
              <a:ext uri="{FF2B5EF4-FFF2-40B4-BE49-F238E27FC236}">
                <a16:creationId xmlns:a16="http://schemas.microsoft.com/office/drawing/2014/main" id="{67710B22-F1F1-4A6C-BD0B-6AD10364D34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47987" y="1460600"/>
            <a:ext cx="5436000" cy="468000"/>
          </a:xfrm>
        </p:spPr>
        <p:txBody>
          <a:bodyPr lIns="0" tIns="0" rIns="0" bIns="72000" anchor="b" anchorCtr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4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aption – 14pt – Arial – Bold – Dark Blue </a:t>
            </a:r>
          </a:p>
          <a:p>
            <a:pPr lvl="0"/>
            <a:r>
              <a:rPr lang="en-US"/>
              <a:t>– Maximum two lines</a:t>
            </a:r>
          </a:p>
        </p:txBody>
      </p:sp>
      <p:sp>
        <p:nvSpPr>
          <p:cNvPr id="13" name="Base">
            <a:extLst>
              <a:ext uri="{FF2B5EF4-FFF2-40B4-BE49-F238E27FC236}">
                <a16:creationId xmlns:a16="http://schemas.microsoft.com/office/drawing/2014/main" id="{12298C37-0CD5-4221-AA09-B93B8E9970D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47987" y="1983426"/>
            <a:ext cx="180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ase/Unit</a:t>
            </a:r>
          </a:p>
        </p:txBody>
      </p:sp>
      <p:sp>
        <p:nvSpPr>
          <p:cNvPr id="15" name="Content Placeholder">
            <a:extLst>
              <a:ext uri="{FF2B5EF4-FFF2-40B4-BE49-F238E27FC236}">
                <a16:creationId xmlns:a16="http://schemas.microsoft.com/office/drawing/2014/main" id="{4DF01E8F-4E09-4192-A155-A5BBDCE8425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347987" y="2204191"/>
            <a:ext cx="5436000" cy="3961660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000"/>
              </a:spcAft>
              <a:buFontTx/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17" name="Redline">
            <a:extLst>
              <a:ext uri="{FF2B5EF4-FFF2-40B4-BE49-F238E27FC236}">
                <a16:creationId xmlns:a16="http://schemas.microsoft.com/office/drawing/2014/main" id="{E10974A4-5A67-4B66-B264-442DD1EABE9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347987" y="1919076"/>
            <a:ext cx="5436000" cy="12700"/>
          </a:xfrm>
          <a:solidFill>
            <a:schemeClr val="tx2"/>
          </a:solidFill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793719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Relationship Id="rId27" Type="http://schemas.openxmlformats.org/officeDocument/2006/relationships/image" Target="../media/image3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EFA3545-2BC0-4A25-AA8B-0491EA1F4D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877312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78" imgH="379" progId="TCLayout.ActiveDocument.1">
                  <p:embed/>
                </p:oleObj>
              </mc:Choice>
              <mc:Fallback>
                <p:oleObj name="think-cell Slide" r:id="rId24" imgW="378" imgH="37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EFA3545-2BC0-4A25-AA8B-0491EA1F4D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C508E50-39E3-48AB-9338-C463CF396007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A4D5322-7226-47BB-9609-9069BEED8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499279"/>
            <a:ext cx="11376025" cy="7201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Title – Arial – Bold – Font size 22pt – Action title – Dark blue</a:t>
            </a:r>
            <a:br>
              <a:rPr lang="en-US" dirty="0"/>
            </a:br>
            <a:r>
              <a:rPr lang="en-US" dirty="0"/>
              <a:t>Max 2 lines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30C26D-03BF-4FE0-A7D8-559D50F696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8" y="1451429"/>
            <a:ext cx="11376024" cy="47144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dirty="0" err="1"/>
              <a:t>Text</a:t>
            </a:r>
            <a:r>
              <a:rPr lang="da-DK" dirty="0"/>
              <a:t> </a:t>
            </a:r>
            <a:r>
              <a:rPr lang="da-DK" dirty="0" err="1"/>
              <a:t>goes</a:t>
            </a:r>
            <a:r>
              <a:rPr lang="da-DK" dirty="0"/>
              <a:t> </a:t>
            </a:r>
            <a:r>
              <a:rPr lang="da-DK" dirty="0" err="1"/>
              <a:t>here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A2D2DE-F95A-4E6B-B75F-6BE05392DF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45383" y="6209555"/>
            <a:ext cx="9517966" cy="40271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A5D339-D3A1-4359-9126-FB20249618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8034" y="6459415"/>
            <a:ext cx="487362" cy="15240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92103799-4748-4C4F-A17A-6CEDBDE457E7}" type="slidenum">
              <a:rPr lang="en-IN" smtClean="0"/>
              <a:pPr/>
              <a:t>‹#›</a:t>
            </a:fld>
            <a:endParaRPr lang="en-IN" dirty="0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E88334DB-0460-44F9-9F9B-087CCADF9CE3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10969480" y="6411353"/>
            <a:ext cx="814533" cy="25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18447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5" r:id="rId2"/>
    <p:sldLayoutId id="2147483686" r:id="rId3"/>
    <p:sldLayoutId id="2147483689" r:id="rId4"/>
    <p:sldLayoutId id="2147483725" r:id="rId5"/>
    <p:sldLayoutId id="2147483680" r:id="rId6"/>
    <p:sldLayoutId id="2147483718" r:id="rId7"/>
    <p:sldLayoutId id="2147483727" r:id="rId8"/>
    <p:sldLayoutId id="2147483729" r:id="rId9"/>
    <p:sldLayoutId id="2147483730" r:id="rId10"/>
    <p:sldLayoutId id="2147483731" r:id="rId11"/>
    <p:sldLayoutId id="2147483732" r:id="rId12"/>
    <p:sldLayoutId id="2147483733" r:id="rId13"/>
    <p:sldLayoutId id="2147483734" r:id="rId14"/>
    <p:sldLayoutId id="2147483735" r:id="rId15"/>
    <p:sldLayoutId id="2147483711" r:id="rId16"/>
    <p:sldLayoutId id="2147483748" r:id="rId17"/>
    <p:sldLayoutId id="2147483751" r:id="rId18"/>
    <p:sldLayoutId id="2147483750" r:id="rId19"/>
    <p:sldLayoutId id="2147483753" r:id="rId2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b="1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44000" indent="-1440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DF4445"/>
        </a:buClr>
        <a:buFont typeface="Wingdings" panose="05000000000000000000" pitchFamily="2" charset="2"/>
        <a:buChar char="§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DF4445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DF4445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DF4445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7">
          <p15:clr>
            <a:srgbClr val="F26B43"/>
          </p15:clr>
        </p15:guide>
        <p15:guide id="2" orient="horz" pos="914">
          <p15:clr>
            <a:srgbClr val="F26B43"/>
          </p15:clr>
        </p15:guide>
        <p15:guide id="3" pos="7423">
          <p15:clr>
            <a:srgbClr val="F26B43"/>
          </p15:clr>
        </p15:guide>
        <p15:guide id="5" orient="horz" pos="3884">
          <p15:clr>
            <a:srgbClr val="F26B43"/>
          </p15:clr>
        </p15:guide>
        <p15:guide id="6" orient="horz" pos="416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2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3.xml"/><Relationship Id="rId4" Type="http://schemas.openxmlformats.org/officeDocument/2006/relationships/image" Target="../media/image13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14.xml"/><Relationship Id="rId4" Type="http://schemas.openxmlformats.org/officeDocument/2006/relationships/image" Target="../media/image13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5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EDE5BD4-47D5-4E2D-88F6-15A8B558292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8217616-B85B-4F41-9B91-88EB52EFBEE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F2E69BD-3B27-4D98-9DB8-A81369C793C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CEA9E55E-07D5-471B-99B9-E232743A323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/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7056A6CF-AA73-44FA-B73E-356CC21ECBD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/>
      </p:sp>
    </p:spTree>
    <p:extLst>
      <p:ext uri="{BB962C8B-B14F-4D97-AF65-F5344CB8AC3E}">
        <p14:creationId xmlns:p14="http://schemas.microsoft.com/office/powerpoint/2010/main" val="28575660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>
            <a:extLst>
              <a:ext uri="{FF2B5EF4-FFF2-40B4-BE49-F238E27FC236}">
                <a16:creationId xmlns:a16="http://schemas.microsoft.com/office/drawing/2014/main" id="{8337C4C2-8572-4FE9-99DB-8D00DCBC43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4161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9" progId="TCLayout.ActiveDocument.1">
                  <p:embed/>
                </p:oleObj>
              </mc:Choice>
              <mc:Fallback>
                <p:oleObj name="think-cell Slide" r:id="rId3" imgW="378" imgH="379" progId="TCLayout.ActiveDocument.1">
                  <p:embed/>
                  <p:pic>
                    <p:nvPicPr>
                      <p:cNvPr id="25" name="Object 24" hidden="1">
                        <a:extLst>
                          <a:ext uri="{FF2B5EF4-FFF2-40B4-BE49-F238E27FC236}">
                            <a16:creationId xmlns:a16="http://schemas.microsoft.com/office/drawing/2014/main" id="{8337C4C2-8572-4FE9-99DB-8D00DCBC43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0C1470C-84F9-4909-B84B-553CCEAABDB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EF1045-1410-4A92-BAE6-F8DA594BD5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3AE98C-C3D9-4B83-A0C9-2B3C56B1573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29F8F71-07AC-4EF9-AA8B-004F9D6CD17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A80916D-42B8-426F-9CB9-4B258FCE43D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FC4BCBF-F827-4AE3-9641-75EB33CCB2B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D10254D-78E5-4930-BB83-B795551348D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B2EA3C5-AD27-4CED-9B84-8F916BABAFB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546A894-6F90-4F69-9AA1-EB4D64B565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F19D3AC-B670-452D-BEB6-29FDEFE4775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5B4CCF3-941D-4ED0-86B0-65829B09B72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C6A1318-FDDE-4211-BBA9-7CB180D4D32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27EE1A9-75E1-457E-9905-D42C66359D0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FAAC9D7-EBB6-4E6B-A17E-E8DCBCFDD6BA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B3E6AD2-2AC9-4B2E-915B-F1F424509FF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C4817009-38A0-4F21-8924-542B171510B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D3ED4D80-DC54-46A1-AC9E-7ADDB1BAC78A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93A4C00D-4708-495B-9E14-52D61C5D43B5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23C8A3C0-C746-4D79-ACAB-E1AB90528D85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3BE487F-C265-4E06-A2FD-DE4F997CEF3C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7CB8B1C7-C4FD-4BB2-8B47-0EC507826A6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59F7AE9A-B447-4A29-9C38-AFD82041933F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4" name="Slide Number Placeholder 23">
            <a:extLst>
              <a:ext uri="{FF2B5EF4-FFF2-40B4-BE49-F238E27FC236}">
                <a16:creationId xmlns:a16="http://schemas.microsoft.com/office/drawing/2014/main" id="{BC806CFA-5D30-44FA-8D5A-6219D96E24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2103799-4748-4C4F-A17A-6CEDBDE457E7}" type="slidenum">
              <a:rPr lang="en-IN" smtClean="0"/>
              <a:pPr/>
              <a:t>2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0468280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F74A8D3-CEF6-4847-A6B8-AC31B7039AC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307041"/>
            <a:ext cx="7200000" cy="1512000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/>
              <a:t>Example </a:t>
            </a:r>
          </a:p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of a long section nam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48DCE6-4F34-4AB4-86D0-EE828E9B616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4813" y="3006525"/>
            <a:ext cx="4679950" cy="719138"/>
          </a:xfrm>
        </p:spPr>
        <p:txBody>
          <a:bodyPr/>
          <a:lstStyle/>
          <a:p>
            <a:r>
              <a:rPr lang="en-US"/>
              <a:t>Optional - Summarize the coming section here in a short paragraph to give the audiences a sneak preview of the contents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98143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4A1C8E3-842B-4395-9579-A59C968EFF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0634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9" progId="TCLayout.ActiveDocument.1">
                  <p:embed/>
                </p:oleObj>
              </mc:Choice>
              <mc:Fallback>
                <p:oleObj name="think-cell Slide" r:id="rId3" imgW="378" imgH="37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4A1C8E3-842B-4395-9579-A59C968EFF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9D47E24-48B4-4D70-B979-5BAA437D3F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A72931A-3507-4C22-ABFA-5CDB7B6DC7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22DB50-40F0-4E6D-B152-BED39A20E6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2103799-4748-4C4F-A17A-6CEDBDE457E7}" type="slidenum">
              <a:rPr lang="en-IN" smtClean="0"/>
              <a:pPr/>
              <a:t>4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6D7EED8-5500-4B8A-8A3C-E79D0B72032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851C3E1-ABDB-4C38-8E3F-E2889D5DAD9B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94098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6681CB6-F0F2-4A40-A167-8C8439C52D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9" progId="TCLayout.ActiveDocument.1">
                  <p:embed/>
                </p:oleObj>
              </mc:Choice>
              <mc:Fallback>
                <p:oleObj name="think-cell Slide" r:id="rId3" imgW="378" imgH="37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6681CB6-F0F2-4A40-A167-8C8439C52D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2F1695C-E4C6-4128-9649-E3A9CECE57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350F511-65E0-431E-A75C-321D593FCA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Kodeord</a:t>
            </a:r>
            <a:r>
              <a:rPr lang="en-US" dirty="0"/>
              <a:t>!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523DB0-04A4-481E-A1AD-3569EC9E04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2103799-4748-4C4F-A17A-6CEDBDE457E7}" type="slidenum">
              <a:rPr lang="en-IN" smtClean="0"/>
              <a:pPr/>
              <a:t>5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4DD8DC-19BA-49CE-BAB1-B25FCB34E2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CD44AF9-BB7E-4E4A-9B0B-2D917CB146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ample of column char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4EB9B1F-8F13-42F4-9CC9-C51B4072A9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/>
              <a:t>N=10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156C149-16B8-4106-82BC-666AC2D1D04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10" name="Content Placeholder 9">
            <a:extLst>
              <a:ext uri="{FF2B5EF4-FFF2-40B4-BE49-F238E27FC236}">
                <a16:creationId xmlns:a16="http://schemas.microsoft.com/office/drawing/2014/main" id="{CB092387-629C-4FAE-BAA7-D414C00B8A22}"/>
              </a:ext>
            </a:extLst>
          </p:cNvPr>
          <p:cNvGraphicFramePr>
            <a:graphicFrameLocks noGrp="1"/>
          </p:cNvGraphicFramePr>
          <p:nvPr>
            <p:ph sz="quarter" idx="19"/>
          </p:nvPr>
        </p:nvGraphicFramePr>
        <p:xfrm>
          <a:off x="407988" y="2203450"/>
          <a:ext cx="11376025" cy="3962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622658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4CF31DE-F1E6-4F41-A95E-99DC49267D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4CF31DE-F1E6-4F41-A95E-99DC49267D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698645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4CF31DE-F1E6-4F41-A95E-99DC49267D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4CF31DE-F1E6-4F41-A95E-99DC49267D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486515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E3DE9C13-D3C3-4369-8870-A266EC1F0E7A}"/>
              </a:ext>
            </a:extLst>
          </p:cNvPr>
          <p:cNvGrpSpPr/>
          <p:nvPr/>
        </p:nvGrpSpPr>
        <p:grpSpPr>
          <a:xfrm>
            <a:off x="-407135" y="1450975"/>
            <a:ext cx="360000" cy="4316050"/>
            <a:chOff x="659466" y="1496977"/>
            <a:chExt cx="360000" cy="4316050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B03C54C3-E290-47B2-B9F8-89014601C16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9466" y="1496977"/>
              <a:ext cx="360000" cy="360000"/>
            </a:xfrm>
            <a:prstGeom prst="rect">
              <a:avLst/>
            </a:prstGeom>
            <a:solidFill>
              <a:srgbClr val="E13C3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α</a:t>
              </a: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F912CCAD-6B65-4852-B14B-AD113B2E1EB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9466" y="1856928"/>
              <a:ext cx="360000" cy="360000"/>
            </a:xfrm>
            <a:prstGeom prst="rect">
              <a:avLst/>
            </a:prstGeom>
            <a:solidFill>
              <a:srgbClr val="0F283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270A1D0E-283D-4423-8EF7-7E4E65CC12F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9466" y="2573419"/>
              <a:ext cx="360000" cy="360000"/>
            </a:xfrm>
            <a:prstGeom prst="rect">
              <a:avLst/>
            </a:prstGeom>
            <a:solidFill>
              <a:srgbClr val="641E3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F760BC01-BCF5-4AF8-9BBC-4BE4E451BCA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9466" y="2933370"/>
              <a:ext cx="360000" cy="360000"/>
            </a:xfrm>
            <a:prstGeom prst="rect">
              <a:avLst/>
            </a:prstGeom>
            <a:solidFill>
              <a:srgbClr val="233CA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16FCE7D5-279B-4D63-B10F-0B3D2730559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9466" y="3293321"/>
              <a:ext cx="360000" cy="360000"/>
            </a:xfrm>
            <a:prstGeom prst="rect">
              <a:avLst/>
            </a:prstGeom>
            <a:solidFill>
              <a:srgbClr val="68838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DB322B8-2FE2-4FC8-8302-7B84026BA7B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9466" y="3653272"/>
              <a:ext cx="360000" cy="360000"/>
            </a:xfrm>
            <a:prstGeom prst="rect">
              <a:avLst/>
            </a:prstGeom>
            <a:solidFill>
              <a:srgbClr val="BA738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6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DE845CAC-BBB7-4364-94ED-7BF2B186771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9466" y="4013223"/>
              <a:ext cx="360000" cy="360000"/>
            </a:xfrm>
            <a:prstGeom prst="rect">
              <a:avLst/>
            </a:prstGeom>
            <a:solidFill>
              <a:srgbClr val="A7C7D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7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B0C9FB2E-0255-4DC3-AD31-E91C0C86869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9466" y="4373174"/>
              <a:ext cx="360000" cy="360000"/>
            </a:xfrm>
            <a:prstGeom prst="rect">
              <a:avLst/>
            </a:prstGeom>
            <a:solidFill>
              <a:srgbClr val="00433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8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83435F82-C91A-4FB7-9FA5-0A8562F0397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9466" y="4733125"/>
              <a:ext cx="360000" cy="360000"/>
            </a:xfrm>
            <a:prstGeom prst="rect">
              <a:avLst/>
            </a:prstGeom>
            <a:solidFill>
              <a:srgbClr val="73A89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9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0B39CA8E-5BB9-4749-87F3-AAA58EF3FE1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9466" y="5093076"/>
              <a:ext cx="360000" cy="360000"/>
            </a:xfrm>
            <a:prstGeom prst="rect">
              <a:avLst/>
            </a:prstGeom>
            <a:solidFill>
              <a:srgbClr val="C1802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0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A6A315D-7BD1-4648-BC0C-C40CCCF3800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9466" y="5453027"/>
              <a:ext cx="360000" cy="360000"/>
            </a:xfrm>
            <a:prstGeom prst="rect">
              <a:avLst/>
            </a:prstGeom>
            <a:solidFill>
              <a:srgbClr val="EBC88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1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EC37CC38-2122-41B0-A28A-1851448817A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9466" y="2215174"/>
              <a:ext cx="360000" cy="360000"/>
            </a:xfrm>
            <a:prstGeom prst="rect">
              <a:avLst/>
            </a:prstGeom>
            <a:solidFill>
              <a:srgbClr val="E8E1D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F28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985899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EFEABE2-61D9-4960-8D60-19BB0502C9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EFEABE2-61D9-4960-8D60-19BB0502C9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454778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Y7djJ7ocNCATyVQ_ukM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Custom 9">
      <a:dk1>
        <a:srgbClr val="0F283C"/>
      </a:dk1>
      <a:lt1>
        <a:sysClr val="window" lastClr="FFFFFF"/>
      </a:lt1>
      <a:dk2>
        <a:srgbClr val="E13C32"/>
      </a:dk2>
      <a:lt2>
        <a:srgbClr val="0F283C"/>
      </a:lt2>
      <a:accent1>
        <a:srgbClr val="641E3C"/>
      </a:accent1>
      <a:accent2>
        <a:srgbClr val="E8E1D5"/>
      </a:accent2>
      <a:accent3>
        <a:srgbClr val="233CA0"/>
      </a:accent3>
      <a:accent4>
        <a:srgbClr val="E8E1D5"/>
      </a:accent4>
      <a:accent5>
        <a:srgbClr val="004337"/>
      </a:accent5>
      <a:accent6>
        <a:srgbClr val="C18022"/>
      </a:accent6>
      <a:hlink>
        <a:srgbClr val="73A89A"/>
      </a:hlink>
      <a:folHlink>
        <a:srgbClr val="EBC882"/>
      </a:folHlink>
    </a:clrScheme>
    <a:fontScheme name="Custom 2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0" tIns="0" rIns="0" bIns="0" rtlCol="0" anchor="ctr"/>
      <a:lstStyle>
        <a:defPPr algn="ctr">
          <a:defRPr sz="12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12700" cap="flat" cmpd="sng">
          <a:solidFill>
            <a:schemeClr val="tx2"/>
          </a:solidFill>
          <a:prstDash val="solid"/>
          <a:miter lim="800000"/>
          <a:headEnd type="none" w="sm" len="sm"/>
          <a:tailEnd type="none" w="sm" len="sm"/>
        </a:ln>
      </a:spPr>
      <a:bodyPr/>
      <a:lstStyle/>
    </a:lnDef>
    <a:txDef>
      <a:spPr>
        <a:noFill/>
      </a:spPr>
      <a:bodyPr wrap="square" rtlCol="0">
        <a:spAutoFit/>
      </a:bodyPr>
      <a:lstStyle>
        <a:defPPr algn="l"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UNTITLED.pptx" id="{3B89C570-18DA-468C-B546-53F14012BC14}" vid="{88D2FB0B-71F6-4434-BECC-B9E923D221D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DCE4F2256B6F45A37297DA225BE4B8" ma:contentTypeVersion="9" ma:contentTypeDescription="Create a new document." ma:contentTypeScope="" ma:versionID="886f9ae414a2971deec77f4d924c71b6">
  <xsd:schema xmlns:xsd="http://www.w3.org/2001/XMLSchema" xmlns:xs="http://www.w3.org/2001/XMLSchema" xmlns:p="http://schemas.microsoft.com/office/2006/metadata/properties" xmlns:ns2="0419f1cd-e9d1-4480-b2cb-429c0b7c1613" xmlns:ns3="1701e586-c14a-4fb7-b57e-ebe902239237" targetNamespace="http://schemas.microsoft.com/office/2006/metadata/properties" ma:root="true" ma:fieldsID="bd0aeb02bd5806240396cbc29313d2bd" ns2:_="" ns3:_="">
    <xsd:import namespace="0419f1cd-e9d1-4480-b2cb-429c0b7c1613"/>
    <xsd:import namespace="1701e586-c14a-4fb7-b57e-ebe90223923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419f1cd-e9d1-4480-b2cb-429c0b7c161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701e586-c14a-4fb7-b57e-ebe902239237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01A7954-803A-42AD-A5C2-36120802CB6D}">
  <ds:schemaRefs>
    <ds:schemaRef ds:uri="0419f1cd-e9d1-4480-b2cb-429c0b7c1613"/>
    <ds:schemaRef ds:uri="1701e586-c14a-4fb7-b57e-ebe902239237"/>
    <ds:schemaRef ds:uri="http://purl.org/dc/dcmitype/"/>
    <ds:schemaRef ds:uri="http://www.w3.org/XML/1998/namespace"/>
    <ds:schemaRef ds:uri="http://schemas.microsoft.com/office/2006/documentManagement/types"/>
    <ds:schemaRef ds:uri="http://schemas.microsoft.com/office/2006/metadata/properties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03057C25-09C6-4784-BA5D-1561CF39C97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419f1cd-e9d1-4480-b2cb-429c0b7c1613"/>
    <ds:schemaRef ds:uri="1701e586-c14a-4fb7-b57e-ebe90223923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66338A3-6E9C-41C7-93A8-F0FC41A466E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pinion PPT template 280622</Template>
  <TotalTime>0</TotalTime>
  <Words>53</Words>
  <Application>Microsoft Office PowerPoint</Application>
  <PresentationFormat>Widescreen</PresentationFormat>
  <Paragraphs>23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3" baseType="lpstr">
      <vt:lpstr>Arial</vt:lpstr>
      <vt:lpstr>Wingdings</vt:lpstr>
      <vt:lpstr>Office-tema</vt:lpstr>
      <vt:lpstr>think-cell Slide</vt:lpstr>
      <vt:lpstr>PowerPoint Presentation</vt:lpstr>
      <vt:lpstr>Content</vt:lpstr>
      <vt:lpstr>PowerPoint Presentation</vt:lpstr>
      <vt:lpstr>PowerPoint Presentation</vt:lpstr>
      <vt:lpstr>Kodeord! 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eppe Hostrup Foldberg Hansen</dc:creator>
  <cp:lastModifiedBy>Jeppe Hostrup Foldberg Hansen</cp:lastModifiedBy>
  <cp:revision>1</cp:revision>
  <dcterms:created xsi:type="dcterms:W3CDTF">2023-03-23T08:14:53Z</dcterms:created>
  <dcterms:modified xsi:type="dcterms:W3CDTF">2023-03-23T08:16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3933587</vt:lpwstr>
  </property>
  <property fmtid="{D5CDD505-2E9C-101B-9397-08002B2CF9AE}" pid="3" name="NXPowerLiteSettings">
    <vt:lpwstr>C700052003A000</vt:lpwstr>
  </property>
  <property fmtid="{D5CDD505-2E9C-101B-9397-08002B2CF9AE}" pid="4" name="NXPowerLiteVersion">
    <vt:lpwstr>D8.0.4</vt:lpwstr>
  </property>
  <property fmtid="{D5CDD505-2E9C-101B-9397-08002B2CF9AE}" pid="5" name="ContentTypeId">
    <vt:lpwstr>0x010100A6DCE4F2256B6F45A37297DA225BE4B8</vt:lpwstr>
  </property>
</Properties>
</file>